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35"/>
  </p:notesMasterIdLst>
  <p:handoutMasterIdLst>
    <p:handoutMasterId r:id="rId36"/>
  </p:handoutMasterIdLst>
  <p:sldIdLst>
    <p:sldId id="294" r:id="rId6"/>
    <p:sldId id="2147472265" r:id="rId7"/>
    <p:sldId id="278" r:id="rId8"/>
    <p:sldId id="8136" r:id="rId9"/>
    <p:sldId id="8157" r:id="rId10"/>
    <p:sldId id="454" r:id="rId11"/>
    <p:sldId id="2147472264" r:id="rId12"/>
    <p:sldId id="8173" r:id="rId13"/>
    <p:sldId id="8180" r:id="rId14"/>
    <p:sldId id="8174" r:id="rId15"/>
    <p:sldId id="8182" r:id="rId16"/>
    <p:sldId id="8176" r:id="rId17"/>
    <p:sldId id="8184" r:id="rId18"/>
    <p:sldId id="8177" r:id="rId19"/>
    <p:sldId id="8185" r:id="rId20"/>
    <p:sldId id="8189" r:id="rId21"/>
    <p:sldId id="8192" r:id="rId22"/>
    <p:sldId id="8186" r:id="rId23"/>
    <p:sldId id="8193" r:id="rId24"/>
    <p:sldId id="8172" r:id="rId25"/>
    <p:sldId id="8179" r:id="rId26"/>
    <p:sldId id="8156" r:id="rId27"/>
    <p:sldId id="8154" r:id="rId28"/>
    <p:sldId id="2147472266" r:id="rId29"/>
    <p:sldId id="461" r:id="rId30"/>
    <p:sldId id="462" r:id="rId31"/>
    <p:sldId id="2147472268" r:id="rId32"/>
    <p:sldId id="2147472267" r:id="rId33"/>
    <p:sldId id="257"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8B69"/>
    <a:srgbClr val="D3772B"/>
    <a:srgbClr val="6F584A"/>
    <a:srgbClr val="7A604D"/>
    <a:srgbClr val="7D6250"/>
    <a:srgbClr val="0088BA"/>
    <a:srgbClr val="71594A"/>
    <a:srgbClr val="C4E3EF"/>
    <a:srgbClr val="27B3D3"/>
    <a:srgbClr val="FAED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423218-1586-4805-86D6-ED07294AB2A3}" v="3" dt="2025-03-06T19:05:20.825"/>
    <p1510:client id="{BF859A91-FA63-4DC9-AD14-A4569BDBEE57}" v="209" dt="2025-03-06T16:03:47.982"/>
    <p1510:client id="{D384EF41-3B17-48D3-BF6D-C30F6E87277D}" v="8" dt="2025-03-06T17:52:19.8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64" autoAdjust="0"/>
    <p:restoredTop sz="96061" autoAdjust="0"/>
  </p:normalViewPr>
  <p:slideViewPr>
    <p:cSldViewPr snapToGrid="0" snapToObjects="1">
      <p:cViewPr varScale="1">
        <p:scale>
          <a:sx n="113" d="100"/>
          <a:sy n="113" d="100"/>
        </p:scale>
        <p:origin x="546"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varScale="1">
        <p:scale>
          <a:sx n="79" d="100"/>
          <a:sy n="79" d="100"/>
        </p:scale>
        <p:origin x="299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CERES SANDOVAL, EVA MARIA" userId="efa43ab3-f30d-49e0-8bcf-cbcf637d4549" providerId="ADAL" clId="{14423218-1586-4805-86D6-ED07294AB2A3}"/>
    <pc:docChg chg="custSel addSld delSld modSld">
      <pc:chgData name="CACERES SANDOVAL, EVA MARIA" userId="efa43ab3-f30d-49e0-8bcf-cbcf637d4549" providerId="ADAL" clId="{14423218-1586-4805-86D6-ED07294AB2A3}" dt="2025-03-06T19:05:20.825" v="18"/>
      <pc:docMkLst>
        <pc:docMk/>
      </pc:docMkLst>
      <pc:sldChg chg="del">
        <pc:chgData name="CACERES SANDOVAL, EVA MARIA" userId="efa43ab3-f30d-49e0-8bcf-cbcf637d4549" providerId="ADAL" clId="{14423218-1586-4805-86D6-ED07294AB2A3}" dt="2025-03-06T18:49:34.106" v="3" actId="47"/>
        <pc:sldMkLst>
          <pc:docMk/>
          <pc:sldMk cId="1685050724" sldId="8137"/>
        </pc:sldMkLst>
      </pc:sldChg>
      <pc:sldChg chg="del">
        <pc:chgData name="CACERES SANDOVAL, EVA MARIA" userId="efa43ab3-f30d-49e0-8bcf-cbcf637d4549" providerId="ADAL" clId="{14423218-1586-4805-86D6-ED07294AB2A3}" dt="2025-03-06T18:49:35.065" v="4" actId="47"/>
        <pc:sldMkLst>
          <pc:docMk/>
          <pc:sldMk cId="1872708884" sldId="8141"/>
        </pc:sldMkLst>
      </pc:sldChg>
      <pc:sldChg chg="del">
        <pc:chgData name="CACERES SANDOVAL, EVA MARIA" userId="efa43ab3-f30d-49e0-8bcf-cbcf637d4549" providerId="ADAL" clId="{14423218-1586-4805-86D6-ED07294AB2A3}" dt="2025-03-06T18:49:12.521" v="0" actId="47"/>
        <pc:sldMkLst>
          <pc:docMk/>
          <pc:sldMk cId="3543695687" sldId="8171"/>
        </pc:sldMkLst>
      </pc:sldChg>
      <pc:sldChg chg="del">
        <pc:chgData name="CACERES SANDOVAL, EVA MARIA" userId="efa43ab3-f30d-49e0-8bcf-cbcf637d4549" providerId="ADAL" clId="{14423218-1586-4805-86D6-ED07294AB2A3}" dt="2025-03-06T18:49:14.019" v="1" actId="47"/>
        <pc:sldMkLst>
          <pc:docMk/>
          <pc:sldMk cId="4283528802" sldId="8178"/>
        </pc:sldMkLst>
      </pc:sldChg>
      <pc:sldChg chg="del">
        <pc:chgData name="CACERES SANDOVAL, EVA MARIA" userId="efa43ab3-f30d-49e0-8bcf-cbcf637d4549" providerId="ADAL" clId="{14423218-1586-4805-86D6-ED07294AB2A3}" dt="2025-03-06T18:49:15.613" v="2" actId="47"/>
        <pc:sldMkLst>
          <pc:docMk/>
          <pc:sldMk cId="2495431310" sldId="8194"/>
        </pc:sldMkLst>
      </pc:sldChg>
      <pc:sldChg chg="delSp modSp mod">
        <pc:chgData name="CACERES SANDOVAL, EVA MARIA" userId="efa43ab3-f30d-49e0-8bcf-cbcf637d4549" providerId="ADAL" clId="{14423218-1586-4805-86D6-ED07294AB2A3}" dt="2025-03-06T19:05:20.825" v="18"/>
        <pc:sldMkLst>
          <pc:docMk/>
          <pc:sldMk cId="3541138618" sldId="2147472265"/>
        </pc:sldMkLst>
        <pc:spChg chg="del">
          <ac:chgData name="CACERES SANDOVAL, EVA MARIA" userId="efa43ab3-f30d-49e0-8bcf-cbcf637d4549" providerId="ADAL" clId="{14423218-1586-4805-86D6-ED07294AB2A3}" dt="2025-03-06T19:03:50.269" v="11" actId="478"/>
          <ac:spMkLst>
            <pc:docMk/>
            <pc:sldMk cId="3541138618" sldId="2147472265"/>
            <ac:spMk id="42" creationId="{E62DA0BA-46AB-D8F4-76DF-6E308492654D}"/>
          </ac:spMkLst>
        </pc:spChg>
        <pc:spChg chg="mod">
          <ac:chgData name="CACERES SANDOVAL, EVA MARIA" userId="efa43ab3-f30d-49e0-8bcf-cbcf637d4549" providerId="ADAL" clId="{14423218-1586-4805-86D6-ED07294AB2A3}" dt="2025-03-06T19:03:53.902" v="12" actId="1076"/>
          <ac:spMkLst>
            <pc:docMk/>
            <pc:sldMk cId="3541138618" sldId="2147472265"/>
            <ac:spMk id="46" creationId="{0FDB3227-D9A9-3F29-B4E9-E7AC075DE48C}"/>
          </ac:spMkLst>
        </pc:spChg>
        <pc:spChg chg="mod">
          <ac:chgData name="CACERES SANDOVAL, EVA MARIA" userId="efa43ab3-f30d-49e0-8bcf-cbcf637d4549" providerId="ADAL" clId="{14423218-1586-4805-86D6-ED07294AB2A3}" dt="2025-03-06T19:03:56.760" v="13" actId="1076"/>
          <ac:spMkLst>
            <pc:docMk/>
            <pc:sldMk cId="3541138618" sldId="2147472265"/>
            <ac:spMk id="50" creationId="{BCF4E7EA-08A7-F578-F670-6C30B6163011}"/>
          </ac:spMkLst>
        </pc:spChg>
        <pc:spChg chg="mod">
          <ac:chgData name="CACERES SANDOVAL, EVA MARIA" userId="efa43ab3-f30d-49e0-8bcf-cbcf637d4549" providerId="ADAL" clId="{14423218-1586-4805-86D6-ED07294AB2A3}" dt="2025-03-06T19:05:20.825" v="18"/>
          <ac:spMkLst>
            <pc:docMk/>
            <pc:sldMk cId="3541138618" sldId="2147472265"/>
            <ac:spMk id="57" creationId="{7DF3E681-0FA0-1ADB-45F4-B69F138B3A3A}"/>
          </ac:spMkLst>
        </pc:spChg>
        <pc:spChg chg="del">
          <ac:chgData name="CACERES SANDOVAL, EVA MARIA" userId="efa43ab3-f30d-49e0-8bcf-cbcf637d4549" providerId="ADAL" clId="{14423218-1586-4805-86D6-ED07294AB2A3}" dt="2025-03-06T19:04:03.055" v="17" actId="478"/>
          <ac:spMkLst>
            <pc:docMk/>
            <pc:sldMk cId="3541138618" sldId="2147472265"/>
            <ac:spMk id="59" creationId="{40148448-B4CA-E6B4-D19D-4E670EE96276}"/>
          </ac:spMkLst>
        </pc:spChg>
        <pc:spChg chg="del">
          <ac:chgData name="CACERES SANDOVAL, EVA MARIA" userId="efa43ab3-f30d-49e0-8bcf-cbcf637d4549" providerId="ADAL" clId="{14423218-1586-4805-86D6-ED07294AB2A3}" dt="2025-03-06T19:04:02.575" v="16" actId="478"/>
          <ac:spMkLst>
            <pc:docMk/>
            <pc:sldMk cId="3541138618" sldId="2147472265"/>
            <ac:spMk id="60" creationId="{AAB3226B-F63B-B657-D422-1CF9BEC1451D}"/>
          </ac:spMkLst>
        </pc:spChg>
        <pc:spChg chg="mod">
          <ac:chgData name="CACERES SANDOVAL, EVA MARIA" userId="efa43ab3-f30d-49e0-8bcf-cbcf637d4549" providerId="ADAL" clId="{14423218-1586-4805-86D6-ED07294AB2A3}" dt="2025-03-06T19:04:01.900" v="15" actId="1076"/>
          <ac:spMkLst>
            <pc:docMk/>
            <pc:sldMk cId="3541138618" sldId="2147472265"/>
            <ac:spMk id="62" creationId="{14C3B670-CD14-2F6B-2370-ABF5D7D9D54C}"/>
          </ac:spMkLst>
        </pc:spChg>
      </pc:sldChg>
      <pc:sldChg chg="modSp add mod">
        <pc:chgData name="CACERES SANDOVAL, EVA MARIA" userId="efa43ab3-f30d-49e0-8bcf-cbcf637d4549" providerId="ADAL" clId="{14423218-1586-4805-86D6-ED07294AB2A3}" dt="2025-03-06T18:55:43.215" v="10" actId="207"/>
        <pc:sldMkLst>
          <pc:docMk/>
          <pc:sldMk cId="909068624" sldId="2147472267"/>
        </pc:sldMkLst>
        <pc:spChg chg="mod">
          <ac:chgData name="CACERES SANDOVAL, EVA MARIA" userId="efa43ab3-f30d-49e0-8bcf-cbcf637d4549" providerId="ADAL" clId="{14423218-1586-4805-86D6-ED07294AB2A3}" dt="2025-03-06T18:55:43.215" v="10" actId="207"/>
          <ac:spMkLst>
            <pc:docMk/>
            <pc:sldMk cId="909068624" sldId="2147472267"/>
            <ac:spMk id="6" creationId="{967A1FB7-C7CC-1378-FAB8-527651CB9936}"/>
          </ac:spMkLst>
        </pc:spChg>
      </pc:sldChg>
      <pc:sldChg chg="del">
        <pc:chgData name="CACERES SANDOVAL, EVA MARIA" userId="efa43ab3-f30d-49e0-8bcf-cbcf637d4549" providerId="ADAL" clId="{14423218-1586-4805-86D6-ED07294AB2A3}" dt="2025-03-06T18:49:35.927" v="5" actId="47"/>
        <pc:sldMkLst>
          <pc:docMk/>
          <pc:sldMk cId="2487857280" sldId="2147472267"/>
        </pc:sldMkLst>
      </pc:sldChg>
      <pc:sldChg chg="del">
        <pc:chgData name="CACERES SANDOVAL, EVA MARIA" userId="efa43ab3-f30d-49e0-8bcf-cbcf637d4549" providerId="ADAL" clId="{14423218-1586-4805-86D6-ED07294AB2A3}" dt="2025-03-06T18:49:53.675" v="7" actId="47"/>
        <pc:sldMkLst>
          <pc:docMk/>
          <pc:sldMk cId="2245251832" sldId="2147472269"/>
        </pc:sldMkLst>
      </pc:sldChg>
      <pc:sldMasterChg chg="delSldLayout">
        <pc:chgData name="CACERES SANDOVAL, EVA MARIA" userId="efa43ab3-f30d-49e0-8bcf-cbcf637d4549" providerId="ADAL" clId="{14423218-1586-4805-86D6-ED07294AB2A3}" dt="2025-03-06T18:49:35.927" v="5" actId="47"/>
        <pc:sldMasterMkLst>
          <pc:docMk/>
          <pc:sldMasterMk cId="2530762699" sldId="2147483701"/>
        </pc:sldMasterMkLst>
        <pc:sldLayoutChg chg="del">
          <pc:chgData name="CACERES SANDOVAL, EVA MARIA" userId="efa43ab3-f30d-49e0-8bcf-cbcf637d4549" providerId="ADAL" clId="{14423218-1586-4805-86D6-ED07294AB2A3}" dt="2025-03-06T18:49:35.927" v="5" actId="47"/>
          <pc:sldLayoutMkLst>
            <pc:docMk/>
            <pc:sldMasterMk cId="2530762699" sldId="2147483701"/>
            <pc:sldLayoutMk cId="310053300" sldId="2147483770"/>
          </pc:sldLayoutMkLst>
        </pc:sldLayoutChg>
      </pc:sldMasterChg>
    </pc:docChg>
  </pc:docChgLst>
  <pc:docChgLst>
    <pc:chgData name="CISNEROS ROJAS, CAMILA GEORGINA" userId="c56cbc2a-55cd-4a0d-b56e-a0bfe880dc94" providerId="ADAL" clId="{D384EF41-3B17-48D3-BF6D-C30F6E87277D}"/>
    <pc:docChg chg="undo custSel addSld delSld modSld">
      <pc:chgData name="CISNEROS ROJAS, CAMILA GEORGINA" userId="c56cbc2a-55cd-4a0d-b56e-a0bfe880dc94" providerId="ADAL" clId="{D384EF41-3B17-48D3-BF6D-C30F6E87277D}" dt="2025-03-06T17:52:19.810" v="131"/>
      <pc:docMkLst>
        <pc:docMk/>
      </pc:docMkLst>
      <pc:sldChg chg="modSp mod">
        <pc:chgData name="CISNEROS ROJAS, CAMILA GEORGINA" userId="c56cbc2a-55cd-4a0d-b56e-a0bfe880dc94" providerId="ADAL" clId="{D384EF41-3B17-48D3-BF6D-C30F6E87277D}" dt="2025-03-06T17:49:22.014" v="128" actId="14100"/>
        <pc:sldMkLst>
          <pc:docMk/>
          <pc:sldMk cId="1911634418" sldId="294"/>
        </pc:sldMkLst>
        <pc:spChg chg="mod">
          <ac:chgData name="CISNEROS ROJAS, CAMILA GEORGINA" userId="c56cbc2a-55cd-4a0d-b56e-a0bfe880dc94" providerId="ADAL" clId="{D384EF41-3B17-48D3-BF6D-C30F6E87277D}" dt="2025-03-06T17:49:22.014" v="128" actId="14100"/>
          <ac:spMkLst>
            <pc:docMk/>
            <pc:sldMk cId="1911634418" sldId="294"/>
            <ac:spMk id="2" creationId="{9E35DCEA-11FB-375E-BA08-3B2B59711278}"/>
          </ac:spMkLst>
        </pc:spChg>
        <pc:spChg chg="mod">
          <ac:chgData name="CISNEROS ROJAS, CAMILA GEORGINA" userId="c56cbc2a-55cd-4a0d-b56e-a0bfe880dc94" providerId="ADAL" clId="{D384EF41-3B17-48D3-BF6D-C30F6E87277D}" dt="2025-03-06T16:33:21.995" v="24" actId="20577"/>
          <ac:spMkLst>
            <pc:docMk/>
            <pc:sldMk cId="1911634418" sldId="294"/>
            <ac:spMk id="4" creationId="{19A7A5CC-C7F1-1A88-CF54-31D5B8150FAD}"/>
          </ac:spMkLst>
        </pc:spChg>
      </pc:sldChg>
      <pc:sldChg chg="del">
        <pc:chgData name="CISNEROS ROJAS, CAMILA GEORGINA" userId="c56cbc2a-55cd-4a0d-b56e-a0bfe880dc94" providerId="ADAL" clId="{D384EF41-3B17-48D3-BF6D-C30F6E87277D}" dt="2025-03-06T16:50:45.174" v="37" actId="2696"/>
        <pc:sldMkLst>
          <pc:docMk/>
          <pc:sldMk cId="2021102318" sldId="459"/>
        </pc:sldMkLst>
      </pc:sldChg>
      <pc:sldChg chg="del">
        <pc:chgData name="CISNEROS ROJAS, CAMILA GEORGINA" userId="c56cbc2a-55cd-4a0d-b56e-a0bfe880dc94" providerId="ADAL" clId="{D384EF41-3B17-48D3-BF6D-C30F6E87277D}" dt="2025-03-06T16:51:30.400" v="38" actId="2696"/>
        <pc:sldMkLst>
          <pc:docMk/>
          <pc:sldMk cId="431565556" sldId="931"/>
        </pc:sldMkLst>
      </pc:sldChg>
      <pc:sldChg chg="del">
        <pc:chgData name="CISNEROS ROJAS, CAMILA GEORGINA" userId="c56cbc2a-55cd-4a0d-b56e-a0bfe880dc94" providerId="ADAL" clId="{D384EF41-3B17-48D3-BF6D-C30F6E87277D}" dt="2025-03-06T16:51:30.400" v="38" actId="2696"/>
        <pc:sldMkLst>
          <pc:docMk/>
          <pc:sldMk cId="4060697977" sldId="933"/>
        </pc:sldMkLst>
      </pc:sldChg>
      <pc:sldChg chg="del">
        <pc:chgData name="CISNEROS ROJAS, CAMILA GEORGINA" userId="c56cbc2a-55cd-4a0d-b56e-a0bfe880dc94" providerId="ADAL" clId="{D384EF41-3B17-48D3-BF6D-C30F6E87277D}" dt="2025-03-06T16:51:30.400" v="38" actId="2696"/>
        <pc:sldMkLst>
          <pc:docMk/>
          <pc:sldMk cId="1416081266" sldId="934"/>
        </pc:sldMkLst>
      </pc:sldChg>
      <pc:sldChg chg="del">
        <pc:chgData name="CISNEROS ROJAS, CAMILA GEORGINA" userId="c56cbc2a-55cd-4a0d-b56e-a0bfe880dc94" providerId="ADAL" clId="{D384EF41-3B17-48D3-BF6D-C30F6E87277D}" dt="2025-03-06T16:51:30.400" v="38" actId="2696"/>
        <pc:sldMkLst>
          <pc:docMk/>
          <pc:sldMk cId="1215131089" sldId="936"/>
        </pc:sldMkLst>
      </pc:sldChg>
      <pc:sldChg chg="add del">
        <pc:chgData name="CISNEROS ROJAS, CAMILA GEORGINA" userId="c56cbc2a-55cd-4a0d-b56e-a0bfe880dc94" providerId="ADAL" clId="{D384EF41-3B17-48D3-BF6D-C30F6E87277D}" dt="2025-03-06T16:51:39.736" v="39"/>
        <pc:sldMkLst>
          <pc:docMk/>
          <pc:sldMk cId="1872708884" sldId="8141"/>
        </pc:sldMkLst>
      </pc:sldChg>
      <pc:sldChg chg="del">
        <pc:chgData name="CISNEROS ROJAS, CAMILA GEORGINA" userId="c56cbc2a-55cd-4a0d-b56e-a0bfe880dc94" providerId="ADAL" clId="{D384EF41-3B17-48D3-BF6D-C30F6E87277D}" dt="2025-03-06T16:56:24.652" v="45" actId="2696"/>
        <pc:sldMkLst>
          <pc:docMk/>
          <pc:sldMk cId="120905574" sldId="8142"/>
        </pc:sldMkLst>
      </pc:sldChg>
      <pc:sldChg chg="del">
        <pc:chgData name="CISNEROS ROJAS, CAMILA GEORGINA" userId="c56cbc2a-55cd-4a0d-b56e-a0bfe880dc94" providerId="ADAL" clId="{D384EF41-3B17-48D3-BF6D-C30F6E87277D}" dt="2025-03-06T16:56:24.652" v="45" actId="2696"/>
        <pc:sldMkLst>
          <pc:docMk/>
          <pc:sldMk cId="3293214524" sldId="8143"/>
        </pc:sldMkLst>
      </pc:sldChg>
      <pc:sldChg chg="delSp">
        <pc:chgData name="CISNEROS ROJAS, CAMILA GEORGINA" userId="c56cbc2a-55cd-4a0d-b56e-a0bfe880dc94" providerId="ADAL" clId="{D384EF41-3B17-48D3-BF6D-C30F6E87277D}" dt="2025-03-06T16:50:28.947" v="35"/>
        <pc:sldMkLst>
          <pc:docMk/>
          <pc:sldMk cId="2775744722" sldId="8154"/>
        </pc:sldMkLst>
        <pc:picChg chg="del">
          <ac:chgData name="CISNEROS ROJAS, CAMILA GEORGINA" userId="c56cbc2a-55cd-4a0d-b56e-a0bfe880dc94" providerId="ADAL" clId="{D384EF41-3B17-48D3-BF6D-C30F6E87277D}" dt="2025-03-06T16:50:28.947" v="35"/>
          <ac:picMkLst>
            <pc:docMk/>
            <pc:sldMk cId="2775744722" sldId="8154"/>
            <ac:picMk id="5" creationId="{0A5DA8B9-B174-EBCF-6872-12D54F0C9260}"/>
          </ac:picMkLst>
        </pc:picChg>
      </pc:sldChg>
      <pc:sldChg chg="addSp delSp modSp mod">
        <pc:chgData name="CISNEROS ROJAS, CAMILA GEORGINA" userId="c56cbc2a-55cd-4a0d-b56e-a0bfe880dc94" providerId="ADAL" clId="{D384EF41-3B17-48D3-BF6D-C30F6E87277D}" dt="2025-03-06T17:32:31.054" v="125" actId="20577"/>
        <pc:sldMkLst>
          <pc:docMk/>
          <pc:sldMk cId="2444844250" sldId="8189"/>
        </pc:sldMkLst>
        <pc:spChg chg="mod">
          <ac:chgData name="CISNEROS ROJAS, CAMILA GEORGINA" userId="c56cbc2a-55cd-4a0d-b56e-a0bfe880dc94" providerId="ADAL" clId="{D384EF41-3B17-48D3-BF6D-C30F6E87277D}" dt="2025-03-06T17:31:17.647" v="102" actId="14100"/>
          <ac:spMkLst>
            <pc:docMk/>
            <pc:sldMk cId="2444844250" sldId="8189"/>
            <ac:spMk id="3" creationId="{74D0E0AE-B9B1-0BF8-EDF7-BF0CF913BEC6}"/>
          </ac:spMkLst>
        </pc:spChg>
        <pc:spChg chg="mod">
          <ac:chgData name="CISNEROS ROJAS, CAMILA GEORGINA" userId="c56cbc2a-55cd-4a0d-b56e-a0bfe880dc94" providerId="ADAL" clId="{D384EF41-3B17-48D3-BF6D-C30F6E87277D}" dt="2025-03-06T17:22:14.833" v="96" actId="1076"/>
          <ac:spMkLst>
            <pc:docMk/>
            <pc:sldMk cId="2444844250" sldId="8189"/>
            <ac:spMk id="4" creationId="{F7399CCC-8D9E-5666-BDD5-40954C7E86F2}"/>
          </ac:spMkLst>
        </pc:spChg>
        <pc:spChg chg="del">
          <ac:chgData name="CISNEROS ROJAS, CAMILA GEORGINA" userId="c56cbc2a-55cd-4a0d-b56e-a0bfe880dc94" providerId="ADAL" clId="{D384EF41-3B17-48D3-BF6D-C30F6E87277D}" dt="2025-03-06T17:20:02.852" v="50" actId="478"/>
          <ac:spMkLst>
            <pc:docMk/>
            <pc:sldMk cId="2444844250" sldId="8189"/>
            <ac:spMk id="6" creationId="{EAB8ACCD-4B8E-375B-1C6F-597E1CE5B22D}"/>
          </ac:spMkLst>
        </pc:spChg>
        <pc:spChg chg="add mod">
          <ac:chgData name="CISNEROS ROJAS, CAMILA GEORGINA" userId="c56cbc2a-55cd-4a0d-b56e-a0bfe880dc94" providerId="ADAL" clId="{D384EF41-3B17-48D3-BF6D-C30F6E87277D}" dt="2025-03-06T17:22:02.228" v="85" actId="404"/>
          <ac:spMkLst>
            <pc:docMk/>
            <pc:sldMk cId="2444844250" sldId="8189"/>
            <ac:spMk id="8" creationId="{434FEEFF-D4A3-97F3-4E0A-55E2F702AFAB}"/>
          </ac:spMkLst>
        </pc:spChg>
        <pc:spChg chg="add mod">
          <ac:chgData name="CISNEROS ROJAS, CAMILA GEORGINA" userId="c56cbc2a-55cd-4a0d-b56e-a0bfe880dc94" providerId="ADAL" clId="{D384EF41-3B17-48D3-BF6D-C30F6E87277D}" dt="2025-03-06T17:32:13.327" v="121" actId="14100"/>
          <ac:spMkLst>
            <pc:docMk/>
            <pc:sldMk cId="2444844250" sldId="8189"/>
            <ac:spMk id="9" creationId="{ED7EF54C-3CFA-48BC-4623-9C43C4D7185F}"/>
          </ac:spMkLst>
        </pc:spChg>
        <pc:spChg chg="add mod">
          <ac:chgData name="CISNEROS ROJAS, CAMILA GEORGINA" userId="c56cbc2a-55cd-4a0d-b56e-a0bfe880dc94" providerId="ADAL" clId="{D384EF41-3B17-48D3-BF6D-C30F6E87277D}" dt="2025-03-06T17:32:31.054" v="125" actId="20577"/>
          <ac:spMkLst>
            <pc:docMk/>
            <pc:sldMk cId="2444844250" sldId="8189"/>
            <ac:spMk id="10" creationId="{2D578DCB-637F-4F40-B2D1-D737034DCD8F}"/>
          </ac:spMkLst>
        </pc:spChg>
        <pc:spChg chg="add mod">
          <ac:chgData name="CISNEROS ROJAS, CAMILA GEORGINA" userId="c56cbc2a-55cd-4a0d-b56e-a0bfe880dc94" providerId="ADAL" clId="{D384EF41-3B17-48D3-BF6D-C30F6E87277D}" dt="2025-03-06T17:31:53.344" v="115" actId="1076"/>
          <ac:spMkLst>
            <pc:docMk/>
            <pc:sldMk cId="2444844250" sldId="8189"/>
            <ac:spMk id="11" creationId="{2B41AE65-E746-2626-3825-56717FAAA98C}"/>
          </ac:spMkLst>
        </pc:spChg>
        <pc:spChg chg="del">
          <ac:chgData name="CISNEROS ROJAS, CAMILA GEORGINA" userId="c56cbc2a-55cd-4a0d-b56e-a0bfe880dc94" providerId="ADAL" clId="{D384EF41-3B17-48D3-BF6D-C30F6E87277D}" dt="2025-03-06T17:20:02.852" v="50" actId="478"/>
          <ac:spMkLst>
            <pc:docMk/>
            <pc:sldMk cId="2444844250" sldId="8189"/>
            <ac:spMk id="12" creationId="{631AD24F-A8A9-BA31-55A7-E7CD5C8F3BAC}"/>
          </ac:spMkLst>
        </pc:spChg>
        <pc:spChg chg="del">
          <ac:chgData name="CISNEROS ROJAS, CAMILA GEORGINA" userId="c56cbc2a-55cd-4a0d-b56e-a0bfe880dc94" providerId="ADAL" clId="{D384EF41-3B17-48D3-BF6D-C30F6E87277D}" dt="2025-03-06T17:20:02.852" v="50" actId="478"/>
          <ac:spMkLst>
            <pc:docMk/>
            <pc:sldMk cId="2444844250" sldId="8189"/>
            <ac:spMk id="13" creationId="{B215D771-DE7D-3ED9-D6BC-D0C54EF80AB9}"/>
          </ac:spMkLst>
        </pc:spChg>
        <pc:spChg chg="del">
          <ac:chgData name="CISNEROS ROJAS, CAMILA GEORGINA" userId="c56cbc2a-55cd-4a0d-b56e-a0bfe880dc94" providerId="ADAL" clId="{D384EF41-3B17-48D3-BF6D-C30F6E87277D}" dt="2025-03-06T17:20:02.852" v="50" actId="478"/>
          <ac:spMkLst>
            <pc:docMk/>
            <pc:sldMk cId="2444844250" sldId="8189"/>
            <ac:spMk id="14" creationId="{4E58F693-5105-6A71-BD6A-B3C6CC5F7922}"/>
          </ac:spMkLst>
        </pc:spChg>
        <pc:spChg chg="del">
          <ac:chgData name="CISNEROS ROJAS, CAMILA GEORGINA" userId="c56cbc2a-55cd-4a0d-b56e-a0bfe880dc94" providerId="ADAL" clId="{D384EF41-3B17-48D3-BF6D-C30F6E87277D}" dt="2025-03-06T17:20:02.852" v="50" actId="478"/>
          <ac:spMkLst>
            <pc:docMk/>
            <pc:sldMk cId="2444844250" sldId="8189"/>
            <ac:spMk id="15" creationId="{212E98C4-A21A-2E57-7E5F-AE37B7487EC0}"/>
          </ac:spMkLst>
        </pc:spChg>
        <pc:spChg chg="add mod">
          <ac:chgData name="CISNEROS ROJAS, CAMILA GEORGINA" userId="c56cbc2a-55cd-4a0d-b56e-a0bfe880dc94" providerId="ADAL" clId="{D384EF41-3B17-48D3-BF6D-C30F6E87277D}" dt="2025-03-06T17:22:02.228" v="85" actId="404"/>
          <ac:spMkLst>
            <pc:docMk/>
            <pc:sldMk cId="2444844250" sldId="8189"/>
            <ac:spMk id="16" creationId="{30796944-917C-9A5E-920B-FF2145B40349}"/>
          </ac:spMkLst>
        </pc:spChg>
        <pc:spChg chg="add del mod">
          <ac:chgData name="CISNEROS ROJAS, CAMILA GEORGINA" userId="c56cbc2a-55cd-4a0d-b56e-a0bfe880dc94" providerId="ADAL" clId="{D384EF41-3B17-48D3-BF6D-C30F6E87277D}" dt="2025-03-06T17:20:12.635" v="55" actId="478"/>
          <ac:spMkLst>
            <pc:docMk/>
            <pc:sldMk cId="2444844250" sldId="8189"/>
            <ac:spMk id="17" creationId="{DF587046-A16A-48F4-8BC1-791271466713}"/>
          </ac:spMkLst>
        </pc:spChg>
        <pc:spChg chg="add del mod">
          <ac:chgData name="CISNEROS ROJAS, CAMILA GEORGINA" userId="c56cbc2a-55cd-4a0d-b56e-a0bfe880dc94" providerId="ADAL" clId="{D384EF41-3B17-48D3-BF6D-C30F6E87277D}" dt="2025-03-06T17:20:07.769" v="52" actId="478"/>
          <ac:spMkLst>
            <pc:docMk/>
            <pc:sldMk cId="2444844250" sldId="8189"/>
            <ac:spMk id="18" creationId="{A01D9A1C-BD98-CB64-1E01-1A612FFB90E3}"/>
          </ac:spMkLst>
        </pc:spChg>
        <pc:spChg chg="add del mod">
          <ac:chgData name="CISNEROS ROJAS, CAMILA GEORGINA" userId="c56cbc2a-55cd-4a0d-b56e-a0bfe880dc94" providerId="ADAL" clId="{D384EF41-3B17-48D3-BF6D-C30F6E87277D}" dt="2025-03-06T17:20:08.576" v="53" actId="478"/>
          <ac:spMkLst>
            <pc:docMk/>
            <pc:sldMk cId="2444844250" sldId="8189"/>
            <ac:spMk id="19" creationId="{B24CA6BF-DA9D-1E99-93B5-6F204CC1BDEC}"/>
          </ac:spMkLst>
        </pc:spChg>
        <pc:spChg chg="add del mod">
          <ac:chgData name="CISNEROS ROJAS, CAMILA GEORGINA" userId="c56cbc2a-55cd-4a0d-b56e-a0bfe880dc94" providerId="ADAL" clId="{D384EF41-3B17-48D3-BF6D-C30F6E87277D}" dt="2025-03-06T17:20:11.733" v="54" actId="478"/>
          <ac:spMkLst>
            <pc:docMk/>
            <pc:sldMk cId="2444844250" sldId="8189"/>
            <ac:spMk id="20" creationId="{19087CD9-27F7-E38C-F04B-84CC89040AFE}"/>
          </ac:spMkLst>
        </pc:spChg>
        <pc:picChg chg="add del mod">
          <ac:chgData name="CISNEROS ROJAS, CAMILA GEORGINA" userId="c56cbc2a-55cd-4a0d-b56e-a0bfe880dc94" providerId="ADAL" clId="{D384EF41-3B17-48D3-BF6D-C30F6E87277D}" dt="2025-03-06T17:22:07.654" v="95" actId="478"/>
          <ac:picMkLst>
            <pc:docMk/>
            <pc:sldMk cId="2444844250" sldId="8189"/>
            <ac:picMk id="5" creationId="{C5DF6C01-6B3B-E8CE-AD3B-F220E3C964C1}"/>
          </ac:picMkLst>
        </pc:picChg>
        <pc:picChg chg="del">
          <ac:chgData name="CISNEROS ROJAS, CAMILA GEORGINA" userId="c56cbc2a-55cd-4a0d-b56e-a0bfe880dc94" providerId="ADAL" clId="{D384EF41-3B17-48D3-BF6D-C30F6E87277D}" dt="2025-03-06T17:20:02.852" v="50" actId="478"/>
          <ac:picMkLst>
            <pc:docMk/>
            <pc:sldMk cId="2444844250" sldId="8189"/>
            <ac:picMk id="7" creationId="{3C1BFEFD-FE09-BFDD-729F-EF5AEFA59B8A}"/>
          </ac:picMkLst>
        </pc:picChg>
        <pc:picChg chg="add del mod ord modCrop">
          <ac:chgData name="CISNEROS ROJAS, CAMILA GEORGINA" userId="c56cbc2a-55cd-4a0d-b56e-a0bfe880dc94" providerId="ADAL" clId="{D384EF41-3B17-48D3-BF6D-C30F6E87277D}" dt="2025-03-06T17:22:07.020" v="94" actId="22"/>
          <ac:picMkLst>
            <pc:docMk/>
            <pc:sldMk cId="2444844250" sldId="8189"/>
            <ac:picMk id="22" creationId="{50FA43FF-0004-23BB-5204-2041C64ABF38}"/>
          </ac:picMkLst>
        </pc:picChg>
      </pc:sldChg>
      <pc:sldChg chg="modSp mod">
        <pc:chgData name="CISNEROS ROJAS, CAMILA GEORGINA" userId="c56cbc2a-55cd-4a0d-b56e-a0bfe880dc94" providerId="ADAL" clId="{D384EF41-3B17-48D3-BF6D-C30F6E87277D}" dt="2025-03-06T17:35:09.848" v="127" actId="1076"/>
        <pc:sldMkLst>
          <pc:docMk/>
          <pc:sldMk cId="2312190459" sldId="8193"/>
        </pc:sldMkLst>
        <pc:spChg chg="mod">
          <ac:chgData name="CISNEROS ROJAS, CAMILA GEORGINA" userId="c56cbc2a-55cd-4a0d-b56e-a0bfe880dc94" providerId="ADAL" clId="{D384EF41-3B17-48D3-BF6D-C30F6E87277D}" dt="2025-03-06T17:35:00.142" v="126" actId="1076"/>
          <ac:spMkLst>
            <pc:docMk/>
            <pc:sldMk cId="2312190459" sldId="8193"/>
            <ac:spMk id="3" creationId="{3615F520-0A72-3794-7A11-5E6C89ECC92F}"/>
          </ac:spMkLst>
        </pc:spChg>
        <pc:spChg chg="mod">
          <ac:chgData name="CISNEROS ROJAS, CAMILA GEORGINA" userId="c56cbc2a-55cd-4a0d-b56e-a0bfe880dc94" providerId="ADAL" clId="{D384EF41-3B17-48D3-BF6D-C30F6E87277D}" dt="2025-03-06T17:35:09.848" v="127" actId="1076"/>
          <ac:spMkLst>
            <pc:docMk/>
            <pc:sldMk cId="2312190459" sldId="8193"/>
            <ac:spMk id="9" creationId="{AEE60E83-F2C8-0353-9735-854742B4206A}"/>
          </ac:spMkLst>
        </pc:spChg>
        <pc:spChg chg="mod">
          <ac:chgData name="CISNEROS ROJAS, CAMILA GEORGINA" userId="c56cbc2a-55cd-4a0d-b56e-a0bfe880dc94" providerId="ADAL" clId="{D384EF41-3B17-48D3-BF6D-C30F6E87277D}" dt="2025-03-06T17:35:09.848" v="127" actId="1076"/>
          <ac:spMkLst>
            <pc:docMk/>
            <pc:sldMk cId="2312190459" sldId="8193"/>
            <ac:spMk id="11" creationId="{D1D424AF-545C-9855-BAAD-EDE2E5786B00}"/>
          </ac:spMkLst>
        </pc:spChg>
        <pc:spChg chg="mod">
          <ac:chgData name="CISNEROS ROJAS, CAMILA GEORGINA" userId="c56cbc2a-55cd-4a0d-b56e-a0bfe880dc94" providerId="ADAL" clId="{D384EF41-3B17-48D3-BF6D-C30F6E87277D}" dt="2025-03-06T17:35:09.848" v="127" actId="1076"/>
          <ac:spMkLst>
            <pc:docMk/>
            <pc:sldMk cId="2312190459" sldId="8193"/>
            <ac:spMk id="14" creationId="{48E7BDFE-E20C-96BF-81B8-7DF6BC32BA32}"/>
          </ac:spMkLst>
        </pc:spChg>
      </pc:sldChg>
      <pc:sldChg chg="modSp mod">
        <pc:chgData name="CISNEROS ROJAS, CAMILA GEORGINA" userId="c56cbc2a-55cd-4a0d-b56e-a0bfe880dc94" providerId="ADAL" clId="{D384EF41-3B17-48D3-BF6D-C30F6E87277D}" dt="2025-03-06T16:53:38.812" v="44" actId="3626"/>
        <pc:sldMkLst>
          <pc:docMk/>
          <pc:sldMk cId="3775120594" sldId="2147472264"/>
        </pc:sldMkLst>
        <pc:spChg chg="mod">
          <ac:chgData name="CISNEROS ROJAS, CAMILA GEORGINA" userId="c56cbc2a-55cd-4a0d-b56e-a0bfe880dc94" providerId="ADAL" clId="{D384EF41-3B17-48D3-BF6D-C30F6E87277D}" dt="2025-03-06T16:53:14.757" v="40" actId="3626"/>
          <ac:spMkLst>
            <pc:docMk/>
            <pc:sldMk cId="3775120594" sldId="2147472264"/>
            <ac:spMk id="18" creationId="{6B18CCCC-67D0-B7EC-63A7-ADC4165C9B52}"/>
          </ac:spMkLst>
        </pc:spChg>
        <pc:spChg chg="mod">
          <ac:chgData name="CISNEROS ROJAS, CAMILA GEORGINA" userId="c56cbc2a-55cd-4a0d-b56e-a0bfe880dc94" providerId="ADAL" clId="{D384EF41-3B17-48D3-BF6D-C30F6E87277D}" dt="2025-03-06T16:53:32.273" v="43" actId="3626"/>
          <ac:spMkLst>
            <pc:docMk/>
            <pc:sldMk cId="3775120594" sldId="2147472264"/>
            <ac:spMk id="20" creationId="{0879DB1A-2BEA-4630-900D-9C5756705A88}"/>
          </ac:spMkLst>
        </pc:spChg>
        <pc:spChg chg="mod">
          <ac:chgData name="CISNEROS ROJAS, CAMILA GEORGINA" userId="c56cbc2a-55cd-4a0d-b56e-a0bfe880dc94" providerId="ADAL" clId="{D384EF41-3B17-48D3-BF6D-C30F6E87277D}" dt="2025-03-06T16:53:21.457" v="41" actId="3626"/>
          <ac:spMkLst>
            <pc:docMk/>
            <pc:sldMk cId="3775120594" sldId="2147472264"/>
            <ac:spMk id="22" creationId="{DEE467F4-1807-4069-A2BB-2C25780A188D}"/>
          </ac:spMkLst>
        </pc:spChg>
        <pc:spChg chg="mod">
          <ac:chgData name="CISNEROS ROJAS, CAMILA GEORGINA" userId="c56cbc2a-55cd-4a0d-b56e-a0bfe880dc94" providerId="ADAL" clId="{D384EF41-3B17-48D3-BF6D-C30F6E87277D}" dt="2025-03-06T16:53:38.812" v="44" actId="3626"/>
          <ac:spMkLst>
            <pc:docMk/>
            <pc:sldMk cId="3775120594" sldId="2147472264"/>
            <ac:spMk id="30" creationId="{82D889D5-08CB-117C-D2FE-CCD39AED1B22}"/>
          </ac:spMkLst>
        </pc:spChg>
        <pc:spChg chg="mod">
          <ac:chgData name="CISNEROS ROJAS, CAMILA GEORGINA" userId="c56cbc2a-55cd-4a0d-b56e-a0bfe880dc94" providerId="ADAL" clId="{D384EF41-3B17-48D3-BF6D-C30F6E87277D}" dt="2025-03-06T16:53:27.046" v="42" actId="3626"/>
          <ac:spMkLst>
            <pc:docMk/>
            <pc:sldMk cId="3775120594" sldId="2147472264"/>
            <ac:spMk id="35" creationId="{3EF5BEFE-EE2D-61A9-A229-BF1E590FB5D3}"/>
          </ac:spMkLst>
        </pc:spChg>
      </pc:sldChg>
      <pc:sldChg chg="addSp delSp modSp mod">
        <pc:chgData name="CISNEROS ROJAS, CAMILA GEORGINA" userId="c56cbc2a-55cd-4a0d-b56e-a0bfe880dc94" providerId="ADAL" clId="{D384EF41-3B17-48D3-BF6D-C30F6E87277D}" dt="2025-03-06T17:52:19.810" v="131"/>
        <pc:sldMkLst>
          <pc:docMk/>
          <pc:sldMk cId="3541138618" sldId="2147472265"/>
        </pc:sldMkLst>
        <pc:spChg chg="mod">
          <ac:chgData name="CISNEROS ROJAS, CAMILA GEORGINA" userId="c56cbc2a-55cd-4a0d-b56e-a0bfe880dc94" providerId="ADAL" clId="{D384EF41-3B17-48D3-BF6D-C30F6E87277D}" dt="2025-03-06T16:33:36.504" v="34" actId="20577"/>
          <ac:spMkLst>
            <pc:docMk/>
            <pc:sldMk cId="3541138618" sldId="2147472265"/>
            <ac:spMk id="19" creationId="{9A6B109C-EC8C-440B-4A85-3DC25C790B1C}"/>
          </ac:spMkLst>
        </pc:spChg>
        <pc:spChg chg="mod">
          <ac:chgData name="CISNEROS ROJAS, CAMILA GEORGINA" userId="c56cbc2a-55cd-4a0d-b56e-a0bfe880dc94" providerId="ADAL" clId="{D384EF41-3B17-48D3-BF6D-C30F6E87277D}" dt="2025-03-06T17:29:45.271" v="101" actId="1076"/>
          <ac:spMkLst>
            <pc:docMk/>
            <pc:sldMk cId="3541138618" sldId="2147472265"/>
            <ac:spMk id="31" creationId="{15307E95-7D67-ECE7-397D-59110C2A7FCE}"/>
          </ac:spMkLst>
        </pc:spChg>
        <pc:spChg chg="mod">
          <ac:chgData name="CISNEROS ROJAS, CAMILA GEORGINA" userId="c56cbc2a-55cd-4a0d-b56e-a0bfe880dc94" providerId="ADAL" clId="{D384EF41-3B17-48D3-BF6D-C30F6E87277D}" dt="2025-03-06T17:29:45.271" v="101" actId="1076"/>
          <ac:spMkLst>
            <pc:docMk/>
            <pc:sldMk cId="3541138618" sldId="2147472265"/>
            <ac:spMk id="32" creationId="{45D0180C-8EF3-4BF2-9234-B5EF139A188A}"/>
          </ac:spMkLst>
        </pc:spChg>
        <pc:spChg chg="mod">
          <ac:chgData name="CISNEROS ROJAS, CAMILA GEORGINA" userId="c56cbc2a-55cd-4a0d-b56e-a0bfe880dc94" providerId="ADAL" clId="{D384EF41-3B17-48D3-BF6D-C30F6E87277D}" dt="2025-03-06T17:29:45.271" v="101" actId="1076"/>
          <ac:spMkLst>
            <pc:docMk/>
            <pc:sldMk cId="3541138618" sldId="2147472265"/>
            <ac:spMk id="33" creationId="{EE40E57B-098B-CC43-B3CA-35BA76D50E15}"/>
          </ac:spMkLst>
        </pc:spChg>
        <pc:spChg chg="mod">
          <ac:chgData name="CISNEROS ROJAS, CAMILA GEORGINA" userId="c56cbc2a-55cd-4a0d-b56e-a0bfe880dc94" providerId="ADAL" clId="{D384EF41-3B17-48D3-BF6D-C30F6E87277D}" dt="2025-03-06T17:29:45.271" v="101" actId="1076"/>
          <ac:spMkLst>
            <pc:docMk/>
            <pc:sldMk cId="3541138618" sldId="2147472265"/>
            <ac:spMk id="34" creationId="{30372A7E-911B-6239-8C58-2B8AC8065F56}"/>
          </ac:spMkLst>
        </pc:spChg>
        <pc:spChg chg="mod">
          <ac:chgData name="CISNEROS ROJAS, CAMILA GEORGINA" userId="c56cbc2a-55cd-4a0d-b56e-a0bfe880dc94" providerId="ADAL" clId="{D384EF41-3B17-48D3-BF6D-C30F6E87277D}" dt="2025-03-06T17:29:45.271" v="101" actId="1076"/>
          <ac:spMkLst>
            <pc:docMk/>
            <pc:sldMk cId="3541138618" sldId="2147472265"/>
            <ac:spMk id="35" creationId="{76F26EB5-65C7-3A30-2986-918DA344D214}"/>
          </ac:spMkLst>
        </pc:spChg>
        <pc:spChg chg="mod">
          <ac:chgData name="CISNEROS ROJAS, CAMILA GEORGINA" userId="c56cbc2a-55cd-4a0d-b56e-a0bfe880dc94" providerId="ADAL" clId="{D384EF41-3B17-48D3-BF6D-C30F6E87277D}" dt="2025-03-06T17:29:45.271" v="101" actId="1076"/>
          <ac:spMkLst>
            <pc:docMk/>
            <pc:sldMk cId="3541138618" sldId="2147472265"/>
            <ac:spMk id="36" creationId="{FCFD676C-3DF6-582E-DA27-64EBECCEF549}"/>
          </ac:spMkLst>
        </pc:spChg>
        <pc:spChg chg="mod">
          <ac:chgData name="CISNEROS ROJAS, CAMILA GEORGINA" userId="c56cbc2a-55cd-4a0d-b56e-a0bfe880dc94" providerId="ADAL" clId="{D384EF41-3B17-48D3-BF6D-C30F6E87277D}" dt="2025-03-06T17:29:45.271" v="101" actId="1076"/>
          <ac:spMkLst>
            <pc:docMk/>
            <pc:sldMk cId="3541138618" sldId="2147472265"/>
            <ac:spMk id="37" creationId="{18CC90AE-589D-4A06-4332-BC8C3BD82FA1}"/>
          </ac:spMkLst>
        </pc:spChg>
        <pc:spChg chg="mod">
          <ac:chgData name="CISNEROS ROJAS, CAMILA GEORGINA" userId="c56cbc2a-55cd-4a0d-b56e-a0bfe880dc94" providerId="ADAL" clId="{D384EF41-3B17-48D3-BF6D-C30F6E87277D}" dt="2025-03-06T17:29:45.271" v="101" actId="1076"/>
          <ac:spMkLst>
            <pc:docMk/>
            <pc:sldMk cId="3541138618" sldId="2147472265"/>
            <ac:spMk id="38" creationId="{EAA80695-BCA7-BC8C-A0E0-6A689D2C6EDA}"/>
          </ac:spMkLst>
        </pc:spChg>
        <pc:spChg chg="mod">
          <ac:chgData name="CISNEROS ROJAS, CAMILA GEORGINA" userId="c56cbc2a-55cd-4a0d-b56e-a0bfe880dc94" providerId="ADAL" clId="{D384EF41-3B17-48D3-BF6D-C30F6E87277D}" dt="2025-03-06T17:29:45.271" v="101" actId="1076"/>
          <ac:spMkLst>
            <pc:docMk/>
            <pc:sldMk cId="3541138618" sldId="2147472265"/>
            <ac:spMk id="39" creationId="{0CA764B2-94A2-A249-6BA8-B08EDE1918D2}"/>
          </ac:spMkLst>
        </pc:spChg>
        <pc:spChg chg="mod">
          <ac:chgData name="CISNEROS ROJAS, CAMILA GEORGINA" userId="c56cbc2a-55cd-4a0d-b56e-a0bfe880dc94" providerId="ADAL" clId="{D384EF41-3B17-48D3-BF6D-C30F6E87277D}" dt="2025-03-06T17:29:45.271" v="101" actId="1076"/>
          <ac:spMkLst>
            <pc:docMk/>
            <pc:sldMk cId="3541138618" sldId="2147472265"/>
            <ac:spMk id="40" creationId="{ED9D5CEF-9EA9-486B-441E-C7523B9FA28D}"/>
          </ac:spMkLst>
        </pc:spChg>
        <pc:spChg chg="mod">
          <ac:chgData name="CISNEROS ROJAS, CAMILA GEORGINA" userId="c56cbc2a-55cd-4a0d-b56e-a0bfe880dc94" providerId="ADAL" clId="{D384EF41-3B17-48D3-BF6D-C30F6E87277D}" dt="2025-03-06T17:29:45.271" v="101" actId="1076"/>
          <ac:spMkLst>
            <pc:docMk/>
            <pc:sldMk cId="3541138618" sldId="2147472265"/>
            <ac:spMk id="41" creationId="{FC5209BF-3831-0CE8-1A2C-5C2156E5B981}"/>
          </ac:spMkLst>
        </pc:spChg>
        <pc:spChg chg="mod">
          <ac:chgData name="CISNEROS ROJAS, CAMILA GEORGINA" userId="c56cbc2a-55cd-4a0d-b56e-a0bfe880dc94" providerId="ADAL" clId="{D384EF41-3B17-48D3-BF6D-C30F6E87277D}" dt="2025-03-06T17:29:45.271" v="101" actId="1076"/>
          <ac:spMkLst>
            <pc:docMk/>
            <pc:sldMk cId="3541138618" sldId="2147472265"/>
            <ac:spMk id="42" creationId="{E62DA0BA-46AB-D8F4-76DF-6E308492654D}"/>
          </ac:spMkLst>
        </pc:spChg>
        <pc:spChg chg="mod">
          <ac:chgData name="CISNEROS ROJAS, CAMILA GEORGINA" userId="c56cbc2a-55cd-4a0d-b56e-a0bfe880dc94" providerId="ADAL" clId="{D384EF41-3B17-48D3-BF6D-C30F6E87277D}" dt="2025-03-06T17:29:45.271" v="101" actId="1076"/>
          <ac:spMkLst>
            <pc:docMk/>
            <pc:sldMk cId="3541138618" sldId="2147472265"/>
            <ac:spMk id="43" creationId="{5EB0B910-CC0C-217D-A935-1227558E27D1}"/>
          </ac:spMkLst>
        </pc:spChg>
        <pc:spChg chg="mod">
          <ac:chgData name="CISNEROS ROJAS, CAMILA GEORGINA" userId="c56cbc2a-55cd-4a0d-b56e-a0bfe880dc94" providerId="ADAL" clId="{D384EF41-3B17-48D3-BF6D-C30F6E87277D}" dt="2025-03-06T17:29:45.271" v="101" actId="1076"/>
          <ac:spMkLst>
            <pc:docMk/>
            <pc:sldMk cId="3541138618" sldId="2147472265"/>
            <ac:spMk id="44" creationId="{D059954C-736A-6FA2-BD73-E7D74C71AEF7}"/>
          </ac:spMkLst>
        </pc:spChg>
        <pc:spChg chg="mod">
          <ac:chgData name="CISNEROS ROJAS, CAMILA GEORGINA" userId="c56cbc2a-55cd-4a0d-b56e-a0bfe880dc94" providerId="ADAL" clId="{D384EF41-3B17-48D3-BF6D-C30F6E87277D}" dt="2025-03-06T17:29:45.271" v="101" actId="1076"/>
          <ac:spMkLst>
            <pc:docMk/>
            <pc:sldMk cId="3541138618" sldId="2147472265"/>
            <ac:spMk id="45" creationId="{BD30C2CA-2BE0-6B9F-42D4-F940226EF2D4}"/>
          </ac:spMkLst>
        </pc:spChg>
        <pc:spChg chg="mod">
          <ac:chgData name="CISNEROS ROJAS, CAMILA GEORGINA" userId="c56cbc2a-55cd-4a0d-b56e-a0bfe880dc94" providerId="ADAL" clId="{D384EF41-3B17-48D3-BF6D-C30F6E87277D}" dt="2025-03-06T17:29:45.271" v="101" actId="1076"/>
          <ac:spMkLst>
            <pc:docMk/>
            <pc:sldMk cId="3541138618" sldId="2147472265"/>
            <ac:spMk id="46" creationId="{0FDB3227-D9A9-3F29-B4E9-E7AC075DE48C}"/>
          </ac:spMkLst>
        </pc:spChg>
        <pc:spChg chg="mod">
          <ac:chgData name="CISNEROS ROJAS, CAMILA GEORGINA" userId="c56cbc2a-55cd-4a0d-b56e-a0bfe880dc94" providerId="ADAL" clId="{D384EF41-3B17-48D3-BF6D-C30F6E87277D}" dt="2025-03-06T17:29:22.128" v="100" actId="1076"/>
          <ac:spMkLst>
            <pc:docMk/>
            <pc:sldMk cId="3541138618" sldId="2147472265"/>
            <ac:spMk id="47" creationId="{B08AC6EA-CFD2-20A3-92C2-6E247783B249}"/>
          </ac:spMkLst>
        </pc:spChg>
        <pc:spChg chg="mod">
          <ac:chgData name="CISNEROS ROJAS, CAMILA GEORGINA" userId="c56cbc2a-55cd-4a0d-b56e-a0bfe880dc94" providerId="ADAL" clId="{D384EF41-3B17-48D3-BF6D-C30F6E87277D}" dt="2025-03-06T17:29:22.128" v="100" actId="1076"/>
          <ac:spMkLst>
            <pc:docMk/>
            <pc:sldMk cId="3541138618" sldId="2147472265"/>
            <ac:spMk id="48" creationId="{C7283189-D9D8-8A83-460E-4FBCAF8B22B4}"/>
          </ac:spMkLst>
        </pc:spChg>
        <pc:spChg chg="mod">
          <ac:chgData name="CISNEROS ROJAS, CAMILA GEORGINA" userId="c56cbc2a-55cd-4a0d-b56e-a0bfe880dc94" providerId="ADAL" clId="{D384EF41-3B17-48D3-BF6D-C30F6E87277D}" dt="2025-03-06T17:29:22.128" v="100" actId="1076"/>
          <ac:spMkLst>
            <pc:docMk/>
            <pc:sldMk cId="3541138618" sldId="2147472265"/>
            <ac:spMk id="49" creationId="{C5765B43-108D-5794-8018-2DBA4173FAC2}"/>
          </ac:spMkLst>
        </pc:spChg>
        <pc:spChg chg="mod">
          <ac:chgData name="CISNEROS ROJAS, CAMILA GEORGINA" userId="c56cbc2a-55cd-4a0d-b56e-a0bfe880dc94" providerId="ADAL" clId="{D384EF41-3B17-48D3-BF6D-C30F6E87277D}" dt="2025-03-06T17:29:22.128" v="100" actId="1076"/>
          <ac:spMkLst>
            <pc:docMk/>
            <pc:sldMk cId="3541138618" sldId="2147472265"/>
            <ac:spMk id="50" creationId="{BCF4E7EA-08A7-F578-F670-6C30B6163011}"/>
          </ac:spMkLst>
        </pc:spChg>
        <pc:spChg chg="mod">
          <ac:chgData name="CISNEROS ROJAS, CAMILA GEORGINA" userId="c56cbc2a-55cd-4a0d-b56e-a0bfe880dc94" providerId="ADAL" clId="{D384EF41-3B17-48D3-BF6D-C30F6E87277D}" dt="2025-03-06T17:29:22.128" v="100" actId="1076"/>
          <ac:spMkLst>
            <pc:docMk/>
            <pc:sldMk cId="3541138618" sldId="2147472265"/>
            <ac:spMk id="51" creationId="{67A2FE62-8D98-C4D4-F545-8D1A21F697C9}"/>
          </ac:spMkLst>
        </pc:spChg>
        <pc:spChg chg="mod">
          <ac:chgData name="CISNEROS ROJAS, CAMILA GEORGINA" userId="c56cbc2a-55cd-4a0d-b56e-a0bfe880dc94" providerId="ADAL" clId="{D384EF41-3B17-48D3-BF6D-C30F6E87277D}" dt="2025-03-06T17:29:22.128" v="100" actId="1076"/>
          <ac:spMkLst>
            <pc:docMk/>
            <pc:sldMk cId="3541138618" sldId="2147472265"/>
            <ac:spMk id="52" creationId="{924423CB-1D1D-02C1-8D4E-ED67F0EA7BC9}"/>
          </ac:spMkLst>
        </pc:spChg>
        <pc:spChg chg="del">
          <ac:chgData name="CISNEROS ROJAS, CAMILA GEORGINA" userId="c56cbc2a-55cd-4a0d-b56e-a0bfe880dc94" providerId="ADAL" clId="{D384EF41-3B17-48D3-BF6D-C30F6E87277D}" dt="2025-03-06T16:56:32.775" v="47" actId="478"/>
          <ac:spMkLst>
            <pc:docMk/>
            <pc:sldMk cId="3541138618" sldId="2147472265"/>
            <ac:spMk id="53" creationId="{4283E1B2-4E12-308A-334A-680CCD7C2BC9}"/>
          </ac:spMkLst>
        </pc:spChg>
        <pc:spChg chg="del">
          <ac:chgData name="CISNEROS ROJAS, CAMILA GEORGINA" userId="c56cbc2a-55cd-4a0d-b56e-a0bfe880dc94" providerId="ADAL" clId="{D384EF41-3B17-48D3-BF6D-C30F6E87277D}" dt="2025-03-06T16:56:33.304" v="48" actId="478"/>
          <ac:spMkLst>
            <pc:docMk/>
            <pc:sldMk cId="3541138618" sldId="2147472265"/>
            <ac:spMk id="54" creationId="{9B33EA30-6453-9E8C-B04F-CE1AE9F899A7}"/>
          </ac:spMkLst>
        </pc:spChg>
        <pc:spChg chg="mod">
          <ac:chgData name="CISNEROS ROJAS, CAMILA GEORGINA" userId="c56cbc2a-55cd-4a0d-b56e-a0bfe880dc94" providerId="ADAL" clId="{D384EF41-3B17-48D3-BF6D-C30F6E87277D}" dt="2025-03-06T17:29:22.128" v="100" actId="1076"/>
          <ac:spMkLst>
            <pc:docMk/>
            <pc:sldMk cId="3541138618" sldId="2147472265"/>
            <ac:spMk id="55" creationId="{866D142A-A49E-5485-0DE8-4E04BC5ABDA2}"/>
          </ac:spMkLst>
        </pc:spChg>
        <pc:spChg chg="del">
          <ac:chgData name="CISNEROS ROJAS, CAMILA GEORGINA" userId="c56cbc2a-55cd-4a0d-b56e-a0bfe880dc94" providerId="ADAL" clId="{D384EF41-3B17-48D3-BF6D-C30F6E87277D}" dt="2025-03-06T17:29:04.163" v="98" actId="478"/>
          <ac:spMkLst>
            <pc:docMk/>
            <pc:sldMk cId="3541138618" sldId="2147472265"/>
            <ac:spMk id="56" creationId="{E204C68A-5B3F-0ABD-891C-E76B9DAC56B8}"/>
          </ac:spMkLst>
        </pc:spChg>
        <pc:spChg chg="mod">
          <ac:chgData name="CISNEROS ROJAS, CAMILA GEORGINA" userId="c56cbc2a-55cd-4a0d-b56e-a0bfe880dc94" providerId="ADAL" clId="{D384EF41-3B17-48D3-BF6D-C30F6E87277D}" dt="2025-03-06T17:29:22.128" v="100" actId="1076"/>
          <ac:spMkLst>
            <pc:docMk/>
            <pc:sldMk cId="3541138618" sldId="2147472265"/>
            <ac:spMk id="57" creationId="{7DF3E681-0FA0-1ADB-45F4-B69F138B3A3A}"/>
          </ac:spMkLst>
        </pc:spChg>
        <pc:spChg chg="del">
          <ac:chgData name="CISNEROS ROJAS, CAMILA GEORGINA" userId="c56cbc2a-55cd-4a0d-b56e-a0bfe880dc94" providerId="ADAL" clId="{D384EF41-3B17-48D3-BF6D-C30F6E87277D}" dt="2025-03-06T16:56:32.208" v="46" actId="478"/>
          <ac:spMkLst>
            <pc:docMk/>
            <pc:sldMk cId="3541138618" sldId="2147472265"/>
            <ac:spMk id="58" creationId="{8F4321F4-6838-4CD9-C1DD-A7CF002F0D24}"/>
          </ac:spMkLst>
        </pc:spChg>
        <pc:spChg chg="add mod">
          <ac:chgData name="CISNEROS ROJAS, CAMILA GEORGINA" userId="c56cbc2a-55cd-4a0d-b56e-a0bfe880dc94" providerId="ADAL" clId="{D384EF41-3B17-48D3-BF6D-C30F6E87277D}" dt="2025-03-06T17:51:45.040" v="129"/>
          <ac:spMkLst>
            <pc:docMk/>
            <pc:sldMk cId="3541138618" sldId="2147472265"/>
            <ac:spMk id="59" creationId="{40148448-B4CA-E6B4-D19D-4E670EE96276}"/>
          </ac:spMkLst>
        </pc:spChg>
        <pc:spChg chg="add mod">
          <ac:chgData name="CISNEROS ROJAS, CAMILA GEORGINA" userId="c56cbc2a-55cd-4a0d-b56e-a0bfe880dc94" providerId="ADAL" clId="{D384EF41-3B17-48D3-BF6D-C30F6E87277D}" dt="2025-03-06T17:51:45.040" v="129"/>
          <ac:spMkLst>
            <pc:docMk/>
            <pc:sldMk cId="3541138618" sldId="2147472265"/>
            <ac:spMk id="60" creationId="{AAB3226B-F63B-B657-D422-1CF9BEC1451D}"/>
          </ac:spMkLst>
        </pc:spChg>
        <pc:spChg chg="add mod">
          <ac:chgData name="CISNEROS ROJAS, CAMILA GEORGINA" userId="c56cbc2a-55cd-4a0d-b56e-a0bfe880dc94" providerId="ADAL" clId="{D384EF41-3B17-48D3-BF6D-C30F6E87277D}" dt="2025-03-06T17:51:45.040" v="129"/>
          <ac:spMkLst>
            <pc:docMk/>
            <pc:sldMk cId="3541138618" sldId="2147472265"/>
            <ac:spMk id="61" creationId="{228F16BB-8111-4D0A-D181-B7876F0CF339}"/>
          </ac:spMkLst>
        </pc:spChg>
        <pc:spChg chg="add mod">
          <ac:chgData name="CISNEROS ROJAS, CAMILA GEORGINA" userId="c56cbc2a-55cd-4a0d-b56e-a0bfe880dc94" providerId="ADAL" clId="{D384EF41-3B17-48D3-BF6D-C30F6E87277D}" dt="2025-03-06T17:52:19.810" v="131"/>
          <ac:spMkLst>
            <pc:docMk/>
            <pc:sldMk cId="3541138618" sldId="2147472265"/>
            <ac:spMk id="62" creationId="{14C3B670-CD14-2F6B-2370-ABF5D7D9D54C}"/>
          </ac:spMkLst>
        </pc:spChg>
      </pc:sldChg>
      <pc:sldChg chg="modSp add mod">
        <pc:chgData name="CISNEROS ROJAS, CAMILA GEORGINA" userId="c56cbc2a-55cd-4a0d-b56e-a0bfe880dc94" providerId="ADAL" clId="{D384EF41-3B17-48D3-BF6D-C30F6E87277D}" dt="2025-03-06T17:02:32.273" v="49" actId="108"/>
        <pc:sldMkLst>
          <pc:docMk/>
          <pc:sldMk cId="2361697727" sldId="2147472266"/>
        </pc:sldMkLst>
        <pc:spChg chg="mod">
          <ac:chgData name="CISNEROS ROJAS, CAMILA GEORGINA" userId="c56cbc2a-55cd-4a0d-b56e-a0bfe880dc94" providerId="ADAL" clId="{D384EF41-3B17-48D3-BF6D-C30F6E87277D}" dt="2025-03-06T17:02:32.273" v="49" actId="108"/>
          <ac:spMkLst>
            <pc:docMk/>
            <pc:sldMk cId="2361697727" sldId="2147472266"/>
            <ac:spMk id="44" creationId="{9F1A59CC-3ED1-2B2C-9854-BB44373C4FB1}"/>
          </ac:spMkLst>
        </pc:spChg>
      </pc:sldChg>
      <pc:sldChg chg="add">
        <pc:chgData name="CISNEROS ROJAS, CAMILA GEORGINA" userId="c56cbc2a-55cd-4a0d-b56e-a0bfe880dc94" providerId="ADAL" clId="{D384EF41-3B17-48D3-BF6D-C30F6E87277D}" dt="2025-03-06T16:51:39.736" v="39"/>
        <pc:sldMkLst>
          <pc:docMk/>
          <pc:sldMk cId="2487857280" sldId="2147472267"/>
        </pc:sldMkLst>
      </pc:sldChg>
      <pc:sldChg chg="add">
        <pc:chgData name="CISNEROS ROJAS, CAMILA GEORGINA" userId="c56cbc2a-55cd-4a0d-b56e-a0bfe880dc94" providerId="ADAL" clId="{D384EF41-3B17-48D3-BF6D-C30F6E87277D}" dt="2025-03-06T17:52:04.620" v="130"/>
        <pc:sldMkLst>
          <pc:docMk/>
          <pc:sldMk cId="1488449410" sldId="2147472268"/>
        </pc:sldMkLst>
      </pc:sldChg>
      <pc:sldChg chg="add">
        <pc:chgData name="CISNEROS ROJAS, CAMILA GEORGINA" userId="c56cbc2a-55cd-4a0d-b56e-a0bfe880dc94" providerId="ADAL" clId="{D384EF41-3B17-48D3-BF6D-C30F6E87277D}" dt="2025-03-06T17:52:04.620" v="130"/>
        <pc:sldMkLst>
          <pc:docMk/>
          <pc:sldMk cId="2245251832" sldId="2147472269"/>
        </pc:sldMkLst>
      </pc:sldChg>
    </pc:docChg>
  </pc:docChgLst>
  <pc:docChgLst>
    <pc:chgData name="CACERES SANDOVAL, EVA MARIA" userId="efa43ab3-f30d-49e0-8bcf-cbcf637d4549" providerId="ADAL" clId="{BEFC6A54-4A2A-48EB-9A23-5555769EF08B}"/>
    <pc:docChg chg="undo custSel addSld delSld modSld sldOrd">
      <pc:chgData name="CACERES SANDOVAL, EVA MARIA" userId="efa43ab3-f30d-49e0-8bcf-cbcf637d4549" providerId="ADAL" clId="{BEFC6A54-4A2A-48EB-9A23-5555769EF08B}" dt="2025-01-20T19:51:07.809" v="769"/>
      <pc:docMkLst>
        <pc:docMk/>
      </pc:docMkLst>
      <pc:sldChg chg="modSp add del mod modNotesTx">
        <pc:chgData name="CACERES SANDOVAL, EVA MARIA" userId="efa43ab3-f30d-49e0-8bcf-cbcf637d4549" providerId="ADAL" clId="{BEFC6A54-4A2A-48EB-9A23-5555769EF08B}" dt="2025-01-20T19:50:50.779" v="767" actId="20577"/>
        <pc:sldMkLst>
          <pc:docMk/>
          <pc:sldMk cId="3250579648" sldId="460"/>
        </pc:sldMkLst>
        <pc:spChg chg="mod">
          <ac:chgData name="CACERES SANDOVAL, EVA MARIA" userId="efa43ab3-f30d-49e0-8bcf-cbcf637d4549" providerId="ADAL" clId="{BEFC6A54-4A2A-48EB-9A23-5555769EF08B}" dt="2025-01-20T19:50:43.648" v="766" actId="20577"/>
          <ac:spMkLst>
            <pc:docMk/>
            <pc:sldMk cId="3250579648" sldId="460"/>
            <ac:spMk id="5" creationId="{EE92387E-268B-9A1F-489C-1C5F9CFE8940}"/>
          </ac:spMkLst>
        </pc:spChg>
      </pc:sldChg>
      <pc:sldChg chg="modNotesTx">
        <pc:chgData name="CACERES SANDOVAL, EVA MARIA" userId="efa43ab3-f30d-49e0-8bcf-cbcf637d4549" providerId="ADAL" clId="{BEFC6A54-4A2A-48EB-9A23-5555769EF08B}" dt="2025-01-20T18:48:09.021" v="47" actId="20577"/>
        <pc:sldMkLst>
          <pc:docMk/>
          <pc:sldMk cId="4078864902" sldId="462"/>
        </pc:sldMkLst>
      </pc:sldChg>
      <pc:sldChg chg="addSp modSp mod">
        <pc:chgData name="CACERES SANDOVAL, EVA MARIA" userId="efa43ab3-f30d-49e0-8bcf-cbcf637d4549" providerId="ADAL" clId="{BEFC6A54-4A2A-48EB-9A23-5555769EF08B}" dt="2025-01-20T19:45:15.653" v="284" actId="14100"/>
        <pc:sldMkLst>
          <pc:docMk/>
          <pc:sldMk cId="431565556" sldId="931"/>
        </pc:sldMkLst>
        <pc:picChg chg="add mod">
          <ac:chgData name="CACERES SANDOVAL, EVA MARIA" userId="efa43ab3-f30d-49e0-8bcf-cbcf637d4549" providerId="ADAL" clId="{BEFC6A54-4A2A-48EB-9A23-5555769EF08B}" dt="2025-01-20T19:45:15.653" v="284" actId="14100"/>
          <ac:picMkLst>
            <pc:docMk/>
            <pc:sldMk cId="431565556" sldId="931"/>
            <ac:picMk id="3" creationId="{B72C4E66-2B59-85F7-FE75-A65AF62EC9AE}"/>
          </ac:picMkLst>
        </pc:picChg>
      </pc:sldChg>
      <pc:sldChg chg="addSp modSp mod">
        <pc:chgData name="CACERES SANDOVAL, EVA MARIA" userId="efa43ab3-f30d-49e0-8bcf-cbcf637d4549" providerId="ADAL" clId="{BEFC6A54-4A2A-48EB-9A23-5555769EF08B}" dt="2025-01-20T19:45:25.199" v="286" actId="1076"/>
        <pc:sldMkLst>
          <pc:docMk/>
          <pc:sldMk cId="4060697977" sldId="933"/>
        </pc:sldMkLst>
        <pc:picChg chg="add mod">
          <ac:chgData name="CACERES SANDOVAL, EVA MARIA" userId="efa43ab3-f30d-49e0-8bcf-cbcf637d4549" providerId="ADAL" clId="{BEFC6A54-4A2A-48EB-9A23-5555769EF08B}" dt="2025-01-20T19:45:25.199" v="286" actId="1076"/>
          <ac:picMkLst>
            <pc:docMk/>
            <pc:sldMk cId="4060697977" sldId="933"/>
            <ac:picMk id="3" creationId="{25361A5A-6FFD-A2C2-C144-87DB728FC1EB}"/>
          </ac:picMkLst>
        </pc:picChg>
      </pc:sldChg>
      <pc:sldChg chg="addSp modSp mod">
        <pc:chgData name="CACERES SANDOVAL, EVA MARIA" userId="efa43ab3-f30d-49e0-8bcf-cbcf637d4549" providerId="ADAL" clId="{BEFC6A54-4A2A-48EB-9A23-5555769EF08B}" dt="2025-01-20T19:45:28.724" v="288" actId="1076"/>
        <pc:sldMkLst>
          <pc:docMk/>
          <pc:sldMk cId="1416081266" sldId="934"/>
        </pc:sldMkLst>
        <pc:picChg chg="add mod">
          <ac:chgData name="CACERES SANDOVAL, EVA MARIA" userId="efa43ab3-f30d-49e0-8bcf-cbcf637d4549" providerId="ADAL" clId="{BEFC6A54-4A2A-48EB-9A23-5555769EF08B}" dt="2025-01-20T19:45:28.724" v="288" actId="1076"/>
          <ac:picMkLst>
            <pc:docMk/>
            <pc:sldMk cId="1416081266" sldId="934"/>
            <ac:picMk id="7" creationId="{108A6D92-A185-5E6E-3F63-0391FD7E2EFA}"/>
          </ac:picMkLst>
        </pc:picChg>
      </pc:sldChg>
      <pc:sldChg chg="addSp modSp mod">
        <pc:chgData name="CACERES SANDOVAL, EVA MARIA" userId="efa43ab3-f30d-49e0-8bcf-cbcf637d4549" providerId="ADAL" clId="{BEFC6A54-4A2A-48EB-9A23-5555769EF08B}" dt="2025-01-20T19:45:36.890" v="291" actId="1076"/>
        <pc:sldMkLst>
          <pc:docMk/>
          <pc:sldMk cId="1215131089" sldId="936"/>
        </pc:sldMkLst>
        <pc:picChg chg="add mod">
          <ac:chgData name="CACERES SANDOVAL, EVA MARIA" userId="efa43ab3-f30d-49e0-8bcf-cbcf637d4549" providerId="ADAL" clId="{BEFC6A54-4A2A-48EB-9A23-5555769EF08B}" dt="2025-01-20T19:45:36.890" v="291" actId="1076"/>
          <ac:picMkLst>
            <pc:docMk/>
            <pc:sldMk cId="1215131089" sldId="936"/>
            <ac:picMk id="3" creationId="{6FFB9A0B-8C00-F812-EB70-A351F41D5E89}"/>
          </ac:picMkLst>
        </pc:picChg>
      </pc:sldChg>
      <pc:sldChg chg="modSp mod">
        <pc:chgData name="CACERES SANDOVAL, EVA MARIA" userId="efa43ab3-f30d-49e0-8bcf-cbcf637d4549" providerId="ADAL" clId="{BEFC6A54-4A2A-48EB-9A23-5555769EF08B}" dt="2025-01-20T18:49:00.989" v="79" actId="20577"/>
        <pc:sldMkLst>
          <pc:docMk/>
          <pc:sldMk cId="120905574" sldId="8142"/>
        </pc:sldMkLst>
        <pc:spChg chg="mod">
          <ac:chgData name="CACERES SANDOVAL, EVA MARIA" userId="efa43ab3-f30d-49e0-8bcf-cbcf637d4549" providerId="ADAL" clId="{BEFC6A54-4A2A-48EB-9A23-5555769EF08B}" dt="2025-01-20T18:49:00.989" v="79" actId="20577"/>
          <ac:spMkLst>
            <pc:docMk/>
            <pc:sldMk cId="120905574" sldId="8142"/>
            <ac:spMk id="2" creationId="{9E35DCEA-11FB-375E-BA08-3B2B59711278}"/>
          </ac:spMkLst>
        </pc:spChg>
      </pc:sldChg>
      <pc:sldChg chg="addSp modSp mod modNotesTx">
        <pc:chgData name="CACERES SANDOVAL, EVA MARIA" userId="efa43ab3-f30d-49e0-8bcf-cbcf637d4549" providerId="ADAL" clId="{BEFC6A54-4A2A-48EB-9A23-5555769EF08B}" dt="2025-01-20T19:51:07.809" v="769"/>
        <pc:sldMkLst>
          <pc:docMk/>
          <pc:sldMk cId="3293214524" sldId="8143"/>
        </pc:sldMkLst>
        <pc:picChg chg="add mod">
          <ac:chgData name="CACERES SANDOVAL, EVA MARIA" userId="efa43ab3-f30d-49e0-8bcf-cbcf637d4549" providerId="ADAL" clId="{BEFC6A54-4A2A-48EB-9A23-5555769EF08B}" dt="2025-01-20T19:44:58.459" v="281" actId="1076"/>
          <ac:picMkLst>
            <pc:docMk/>
            <pc:sldMk cId="3293214524" sldId="8143"/>
            <ac:picMk id="4" creationId="{62595901-6827-EFF3-87DA-3C7EEB5490AA}"/>
          </ac:picMkLst>
        </pc:picChg>
      </pc:sldChg>
      <pc:sldChg chg="addSp modSp mod modNotesTx">
        <pc:chgData name="CACERES SANDOVAL, EVA MARIA" userId="efa43ab3-f30d-49e0-8bcf-cbcf637d4549" providerId="ADAL" clId="{BEFC6A54-4A2A-48EB-9A23-5555769EF08B}" dt="2025-01-20T19:51:06.527" v="768"/>
        <pc:sldMkLst>
          <pc:docMk/>
          <pc:sldMk cId="2105858830" sldId="8144"/>
        </pc:sldMkLst>
        <pc:picChg chg="add mod">
          <ac:chgData name="CACERES SANDOVAL, EVA MARIA" userId="efa43ab3-f30d-49e0-8bcf-cbcf637d4549" providerId="ADAL" clId="{BEFC6A54-4A2A-48EB-9A23-5555769EF08B}" dt="2025-01-20T19:44:53.413" v="279" actId="1076"/>
          <ac:picMkLst>
            <pc:docMk/>
            <pc:sldMk cId="2105858830" sldId="8144"/>
            <ac:picMk id="2" creationId="{86143765-6C97-69B6-9A60-17627D324F0A}"/>
          </ac:picMkLst>
        </pc:picChg>
      </pc:sldChg>
      <pc:sldChg chg="delSp add del mod">
        <pc:chgData name="CACERES SANDOVAL, EVA MARIA" userId="efa43ab3-f30d-49e0-8bcf-cbcf637d4549" providerId="ADAL" clId="{BEFC6A54-4A2A-48EB-9A23-5555769EF08B}" dt="2025-01-20T19:43:00.519" v="113" actId="47"/>
        <pc:sldMkLst>
          <pc:docMk/>
          <pc:sldMk cId="3715989853" sldId="8145"/>
        </pc:sldMkLst>
        <pc:spChg chg="del">
          <ac:chgData name="CACERES SANDOVAL, EVA MARIA" userId="efa43ab3-f30d-49e0-8bcf-cbcf637d4549" providerId="ADAL" clId="{BEFC6A54-4A2A-48EB-9A23-5555769EF08B}" dt="2025-01-20T19:42:39.996" v="106" actId="21"/>
          <ac:spMkLst>
            <pc:docMk/>
            <pc:sldMk cId="3715989853" sldId="8145"/>
            <ac:spMk id="3" creationId="{DD970A5D-43D3-070F-D767-56180E46D98B}"/>
          </ac:spMkLst>
        </pc:spChg>
        <pc:picChg chg="del">
          <ac:chgData name="CACERES SANDOVAL, EVA MARIA" userId="efa43ab3-f30d-49e0-8bcf-cbcf637d4549" providerId="ADAL" clId="{BEFC6A54-4A2A-48EB-9A23-5555769EF08B}" dt="2025-01-20T19:41:46.558" v="84" actId="21"/>
          <ac:picMkLst>
            <pc:docMk/>
            <pc:sldMk cId="3715989853" sldId="8145"/>
            <ac:picMk id="5" creationId="{CAB8CDAC-7638-C09E-7C5F-1262763BF310}"/>
          </ac:picMkLst>
        </pc:picChg>
      </pc:sldChg>
      <pc:sldChg chg="addSp delSp modSp mod modNotesTx">
        <pc:chgData name="CACERES SANDOVAL, EVA MARIA" userId="efa43ab3-f30d-49e0-8bcf-cbcf637d4549" providerId="ADAL" clId="{BEFC6A54-4A2A-48EB-9A23-5555769EF08B}" dt="2025-01-20T19:49:24.512" v="717" actId="113"/>
        <pc:sldMkLst>
          <pc:docMk/>
          <pc:sldMk cId="1445624873" sldId="8146"/>
        </pc:sldMkLst>
        <pc:spChg chg="mod">
          <ac:chgData name="CACERES SANDOVAL, EVA MARIA" userId="efa43ab3-f30d-49e0-8bcf-cbcf637d4549" providerId="ADAL" clId="{BEFC6A54-4A2A-48EB-9A23-5555769EF08B}" dt="2025-01-20T19:42:37.038" v="105" actId="1076"/>
          <ac:spMkLst>
            <pc:docMk/>
            <pc:sldMk cId="1445624873" sldId="8146"/>
            <ac:spMk id="3" creationId="{EF22E0AC-7AE1-BB95-A91E-FFB510E26B34}"/>
          </ac:spMkLst>
        </pc:spChg>
        <pc:spChg chg="add mod">
          <ac:chgData name="CACERES SANDOVAL, EVA MARIA" userId="efa43ab3-f30d-49e0-8bcf-cbcf637d4549" providerId="ADAL" clId="{BEFC6A54-4A2A-48EB-9A23-5555769EF08B}" dt="2025-01-20T19:42:10.299" v="97" actId="1076"/>
          <ac:spMkLst>
            <pc:docMk/>
            <pc:sldMk cId="1445624873" sldId="8146"/>
            <ac:spMk id="5" creationId="{733AB305-3A37-528F-E2E6-277640643D65}"/>
          </ac:spMkLst>
        </pc:spChg>
        <pc:spChg chg="add mod">
          <ac:chgData name="CACERES SANDOVAL, EVA MARIA" userId="efa43ab3-f30d-49e0-8bcf-cbcf637d4549" providerId="ADAL" clId="{BEFC6A54-4A2A-48EB-9A23-5555769EF08B}" dt="2025-01-20T19:42:13.889" v="99" actId="1076"/>
          <ac:spMkLst>
            <pc:docMk/>
            <pc:sldMk cId="1445624873" sldId="8146"/>
            <ac:spMk id="6" creationId="{1504C3A4-23BF-8BAB-40A4-88C140EE0358}"/>
          </ac:spMkLst>
        </pc:spChg>
        <pc:spChg chg="add mod">
          <ac:chgData name="CACERES SANDOVAL, EVA MARIA" userId="efa43ab3-f30d-49e0-8bcf-cbcf637d4549" providerId="ADAL" clId="{BEFC6A54-4A2A-48EB-9A23-5555769EF08B}" dt="2025-01-20T19:42:45.024" v="108" actId="1076"/>
          <ac:spMkLst>
            <pc:docMk/>
            <pc:sldMk cId="1445624873" sldId="8146"/>
            <ac:spMk id="7" creationId="{BEB82B6D-C971-DA84-CEFA-FD9356F21CED}"/>
          </ac:spMkLst>
        </pc:spChg>
        <pc:spChg chg="add mod">
          <ac:chgData name="CACERES SANDOVAL, EVA MARIA" userId="efa43ab3-f30d-49e0-8bcf-cbcf637d4549" providerId="ADAL" clId="{BEFC6A54-4A2A-48EB-9A23-5555769EF08B}" dt="2025-01-20T19:43:35.854" v="170" actId="1076"/>
          <ac:spMkLst>
            <pc:docMk/>
            <pc:sldMk cId="1445624873" sldId="8146"/>
            <ac:spMk id="8" creationId="{C82281C7-DF0B-F022-FA48-7067B08E841D}"/>
          </ac:spMkLst>
        </pc:spChg>
        <pc:spChg chg="mod">
          <ac:chgData name="CACERES SANDOVAL, EVA MARIA" userId="efa43ab3-f30d-49e0-8bcf-cbcf637d4549" providerId="ADAL" clId="{BEFC6A54-4A2A-48EB-9A23-5555769EF08B}" dt="2025-01-20T19:43:55.821" v="264" actId="20577"/>
          <ac:spMkLst>
            <pc:docMk/>
            <pc:sldMk cId="1445624873" sldId="8146"/>
            <ac:spMk id="9" creationId="{DA5F819D-89B6-B121-879F-E688F5CD9E25}"/>
          </ac:spMkLst>
        </pc:spChg>
        <pc:spChg chg="add del">
          <ac:chgData name="CACERES SANDOVAL, EVA MARIA" userId="efa43ab3-f30d-49e0-8bcf-cbcf637d4549" providerId="ADAL" clId="{BEFC6A54-4A2A-48EB-9A23-5555769EF08B}" dt="2025-01-20T19:44:25.974" v="267" actId="478"/>
          <ac:spMkLst>
            <pc:docMk/>
            <pc:sldMk cId="1445624873" sldId="8146"/>
            <ac:spMk id="11" creationId="{E9951835-6ECF-4E5E-E58A-78425EF5449E}"/>
          </ac:spMkLst>
        </pc:spChg>
        <pc:spChg chg="mod">
          <ac:chgData name="CACERES SANDOVAL, EVA MARIA" userId="efa43ab3-f30d-49e0-8bcf-cbcf637d4549" providerId="ADAL" clId="{BEFC6A54-4A2A-48EB-9A23-5555769EF08B}" dt="2025-01-20T19:42:06.118" v="95" actId="1076"/>
          <ac:spMkLst>
            <pc:docMk/>
            <pc:sldMk cId="1445624873" sldId="8146"/>
            <ac:spMk id="13" creationId="{6AB83DF5-93D1-CC2C-DB11-713DD3472774}"/>
          </ac:spMkLst>
        </pc:spChg>
        <pc:picChg chg="add mod">
          <ac:chgData name="CACERES SANDOVAL, EVA MARIA" userId="efa43ab3-f30d-49e0-8bcf-cbcf637d4549" providerId="ADAL" clId="{BEFC6A54-4A2A-48EB-9A23-5555769EF08B}" dt="2025-01-20T19:41:54.294" v="89" actId="1076"/>
          <ac:picMkLst>
            <pc:docMk/>
            <pc:sldMk cId="1445624873" sldId="8146"/>
            <ac:picMk id="2" creationId="{CAC51292-B1D7-3989-312B-49A3C8AE2172}"/>
          </ac:picMkLst>
        </pc:picChg>
        <pc:picChg chg="add mod">
          <ac:chgData name="CACERES SANDOVAL, EVA MARIA" userId="efa43ab3-f30d-49e0-8bcf-cbcf637d4549" providerId="ADAL" clId="{BEFC6A54-4A2A-48EB-9A23-5555769EF08B}" dt="2025-01-20T19:42:02.547" v="94" actId="14100"/>
          <ac:picMkLst>
            <pc:docMk/>
            <pc:sldMk cId="1445624873" sldId="8146"/>
            <ac:picMk id="4" creationId="{1FCA8DC9-75BF-469E-E710-47095A46EA4F}"/>
          </ac:picMkLst>
        </pc:picChg>
        <pc:picChg chg="mod">
          <ac:chgData name="CACERES SANDOVAL, EVA MARIA" userId="efa43ab3-f30d-49e0-8bcf-cbcf637d4549" providerId="ADAL" clId="{BEFC6A54-4A2A-48EB-9A23-5555769EF08B}" dt="2025-01-20T19:41:44.669" v="83" actId="1076"/>
          <ac:picMkLst>
            <pc:docMk/>
            <pc:sldMk cId="1445624873" sldId="8146"/>
            <ac:picMk id="12" creationId="{61801C27-F702-C6B0-3493-9C030D1EFC6D}"/>
          </ac:picMkLst>
        </pc:picChg>
        <pc:picChg chg="add mod">
          <ac:chgData name="CACERES SANDOVAL, EVA MARIA" userId="efa43ab3-f30d-49e0-8bcf-cbcf637d4549" providerId="ADAL" clId="{BEFC6A54-4A2A-48EB-9A23-5555769EF08B}" dt="2025-01-20T19:44:34.059" v="272" actId="1076"/>
          <ac:picMkLst>
            <pc:docMk/>
            <pc:sldMk cId="1445624873" sldId="8146"/>
            <ac:picMk id="15" creationId="{689D3C1F-A73D-3A36-981B-379BF046B8CF}"/>
          </ac:picMkLst>
        </pc:picChg>
        <pc:picChg chg="add mod">
          <ac:chgData name="CACERES SANDOVAL, EVA MARIA" userId="efa43ab3-f30d-49e0-8bcf-cbcf637d4549" providerId="ADAL" clId="{BEFC6A54-4A2A-48EB-9A23-5555769EF08B}" dt="2025-01-20T19:44:41.020" v="274" actId="1076"/>
          <ac:picMkLst>
            <pc:docMk/>
            <pc:sldMk cId="1445624873" sldId="8146"/>
            <ac:picMk id="16" creationId="{4915C515-76E9-95E5-451B-E531991576E9}"/>
          </ac:picMkLst>
        </pc:picChg>
        <pc:picChg chg="add mod">
          <ac:chgData name="CACERES SANDOVAL, EVA MARIA" userId="efa43ab3-f30d-49e0-8bcf-cbcf637d4549" providerId="ADAL" clId="{BEFC6A54-4A2A-48EB-9A23-5555769EF08B}" dt="2025-01-20T19:44:46.577" v="277" actId="1076"/>
          <ac:picMkLst>
            <pc:docMk/>
            <pc:sldMk cId="1445624873" sldId="8146"/>
            <ac:picMk id="17" creationId="{05BE5F6D-B1ED-1CF2-1608-530D35FDF230}"/>
          </ac:picMkLst>
        </pc:picChg>
      </pc:sldChg>
      <pc:sldChg chg="delSp add del mod">
        <pc:chgData name="CACERES SANDOVAL, EVA MARIA" userId="efa43ab3-f30d-49e0-8bcf-cbcf637d4549" providerId="ADAL" clId="{BEFC6A54-4A2A-48EB-9A23-5555769EF08B}" dt="2025-01-20T19:43:01.543" v="114" actId="47"/>
        <pc:sldMkLst>
          <pc:docMk/>
          <pc:sldMk cId="2472265382" sldId="8147"/>
        </pc:sldMkLst>
        <pc:spChg chg="del">
          <ac:chgData name="CACERES SANDOVAL, EVA MARIA" userId="efa43ab3-f30d-49e0-8bcf-cbcf637d4549" providerId="ADAL" clId="{BEFC6A54-4A2A-48EB-9A23-5555769EF08B}" dt="2025-01-20T19:42:47.950" v="109" actId="21"/>
          <ac:spMkLst>
            <pc:docMk/>
            <pc:sldMk cId="2472265382" sldId="8147"/>
            <ac:spMk id="3" creationId="{281D7F3C-C367-8E0D-70C9-6A321A22FA01}"/>
          </ac:spMkLst>
        </pc:spChg>
        <pc:picChg chg="del">
          <ac:chgData name="CACERES SANDOVAL, EVA MARIA" userId="efa43ab3-f30d-49e0-8bcf-cbcf637d4549" providerId="ADAL" clId="{BEFC6A54-4A2A-48EB-9A23-5555769EF08B}" dt="2025-01-20T19:41:56.144" v="90" actId="21"/>
          <ac:picMkLst>
            <pc:docMk/>
            <pc:sldMk cId="2472265382" sldId="8147"/>
            <ac:picMk id="6" creationId="{DDCC2F01-DFF3-C85E-1CF5-F768CE2A1D81}"/>
          </ac:picMkLst>
        </pc:picChg>
      </pc:sldChg>
      <pc:sldChg chg="del">
        <pc:chgData name="CACERES SANDOVAL, EVA MARIA" userId="efa43ab3-f30d-49e0-8bcf-cbcf637d4549" providerId="ADAL" clId="{BEFC6A54-4A2A-48EB-9A23-5555769EF08B}" dt="2025-01-20T18:45:18.282" v="0" actId="47"/>
        <pc:sldMkLst>
          <pc:docMk/>
          <pc:sldMk cId="3134077478" sldId="8148"/>
        </pc:sldMkLst>
      </pc:sldChg>
      <pc:sldChg chg="del">
        <pc:chgData name="CACERES SANDOVAL, EVA MARIA" userId="efa43ab3-f30d-49e0-8bcf-cbcf637d4549" providerId="ADAL" clId="{BEFC6A54-4A2A-48EB-9A23-5555769EF08B}" dt="2025-01-20T18:45:18.282" v="0" actId="47"/>
        <pc:sldMkLst>
          <pc:docMk/>
          <pc:sldMk cId="2171042192" sldId="8149"/>
        </pc:sldMkLst>
      </pc:sldChg>
      <pc:sldChg chg="del">
        <pc:chgData name="CACERES SANDOVAL, EVA MARIA" userId="efa43ab3-f30d-49e0-8bcf-cbcf637d4549" providerId="ADAL" clId="{BEFC6A54-4A2A-48EB-9A23-5555769EF08B}" dt="2025-01-20T18:45:18.282" v="0" actId="47"/>
        <pc:sldMkLst>
          <pc:docMk/>
          <pc:sldMk cId="4054008323" sldId="8150"/>
        </pc:sldMkLst>
      </pc:sldChg>
      <pc:sldChg chg="add del">
        <pc:chgData name="CACERES SANDOVAL, EVA MARIA" userId="efa43ab3-f30d-49e0-8bcf-cbcf637d4549" providerId="ADAL" clId="{BEFC6A54-4A2A-48EB-9A23-5555769EF08B}" dt="2025-01-20T19:41:23.957" v="80"/>
        <pc:sldMkLst>
          <pc:docMk/>
          <pc:sldMk cId="1321286741" sldId="8151"/>
        </pc:sldMkLst>
      </pc:sldChg>
      <pc:sldChg chg="addSp modSp add del mod ord">
        <pc:chgData name="CACERES SANDOVAL, EVA MARIA" userId="efa43ab3-f30d-49e0-8bcf-cbcf637d4549" providerId="ADAL" clId="{BEFC6A54-4A2A-48EB-9A23-5555769EF08B}" dt="2025-01-20T19:49:49.498" v="742"/>
        <pc:sldMkLst>
          <pc:docMk/>
          <pc:sldMk cId="550098848" sldId="8152"/>
        </pc:sldMkLst>
        <pc:spChg chg="add mod">
          <ac:chgData name="CACERES SANDOVAL, EVA MARIA" userId="efa43ab3-f30d-49e0-8bcf-cbcf637d4549" providerId="ADAL" clId="{BEFC6A54-4A2A-48EB-9A23-5555769EF08B}" dt="2025-01-20T19:49:38.974" v="740" actId="20577"/>
          <ac:spMkLst>
            <pc:docMk/>
            <pc:sldMk cId="550098848" sldId="8152"/>
            <ac:spMk id="2" creationId="{C2CC0FD8-C8E3-0ABD-3152-29D82447D7A0}"/>
          </ac:spMkLst>
        </pc:spChg>
      </pc:sldChg>
      <pc:sldChg chg="del">
        <pc:chgData name="CACERES SANDOVAL, EVA MARIA" userId="efa43ab3-f30d-49e0-8bcf-cbcf637d4549" providerId="ADAL" clId="{BEFC6A54-4A2A-48EB-9A23-5555769EF08B}" dt="2025-01-20T18:45:18.282" v="0" actId="47"/>
        <pc:sldMkLst>
          <pc:docMk/>
          <pc:sldMk cId="4268641344" sldId="8153"/>
        </pc:sldMkLst>
      </pc:sldChg>
    </pc:docChg>
  </pc:docChgLst>
  <pc:docChgLst>
    <pc:chgData name="CACERES SANDOVAL, EVA MARIA" userId="efa43ab3-f30d-49e0-8bcf-cbcf637d4549" providerId="ADAL" clId="{AC524F4A-C208-4D5E-910C-7C486E8EA4B5}"/>
    <pc:docChg chg="undo custSel addSld delSld modSld">
      <pc:chgData name="CACERES SANDOVAL, EVA MARIA" userId="efa43ab3-f30d-49e0-8bcf-cbcf637d4549" providerId="ADAL" clId="{AC524F4A-C208-4D5E-910C-7C486E8EA4B5}" dt="2025-01-20T18:43:30.438" v="3718" actId="20577"/>
      <pc:docMkLst>
        <pc:docMk/>
      </pc:docMkLst>
      <pc:sldChg chg="delSp mod">
        <pc:chgData name="CACERES SANDOVAL, EVA MARIA" userId="efa43ab3-f30d-49e0-8bcf-cbcf637d4549" providerId="ADAL" clId="{AC524F4A-C208-4D5E-910C-7C486E8EA4B5}" dt="2025-01-20T17:33:32.719" v="2899" actId="478"/>
        <pc:sldMkLst>
          <pc:docMk/>
          <pc:sldMk cId="3697566562" sldId="278"/>
        </pc:sldMkLst>
        <pc:spChg chg="del">
          <ac:chgData name="CACERES SANDOVAL, EVA MARIA" userId="efa43ab3-f30d-49e0-8bcf-cbcf637d4549" providerId="ADAL" clId="{AC524F4A-C208-4D5E-910C-7C486E8EA4B5}" dt="2025-01-20T17:33:32.719" v="2899" actId="478"/>
          <ac:spMkLst>
            <pc:docMk/>
            <pc:sldMk cId="3697566562" sldId="278"/>
            <ac:spMk id="4" creationId="{D2607E6F-AD79-46D1-B5A9-6387F3F7DA96}"/>
          </ac:spMkLst>
        </pc:spChg>
      </pc:sldChg>
      <pc:sldChg chg="modSp mod">
        <pc:chgData name="CACERES SANDOVAL, EVA MARIA" userId="efa43ab3-f30d-49e0-8bcf-cbcf637d4549" providerId="ADAL" clId="{AC524F4A-C208-4D5E-910C-7C486E8EA4B5}" dt="2025-01-20T18:25:01.443" v="2964" actId="1076"/>
        <pc:sldMkLst>
          <pc:docMk/>
          <pc:sldMk cId="1911634418" sldId="294"/>
        </pc:sldMkLst>
        <pc:spChg chg="mod">
          <ac:chgData name="CACERES SANDOVAL, EVA MARIA" userId="efa43ab3-f30d-49e0-8bcf-cbcf637d4549" providerId="ADAL" clId="{AC524F4A-C208-4D5E-910C-7C486E8EA4B5}" dt="2025-01-20T18:24:58.728" v="2963"/>
          <ac:spMkLst>
            <pc:docMk/>
            <pc:sldMk cId="1911634418" sldId="294"/>
            <ac:spMk id="2" creationId="{9E35DCEA-11FB-375E-BA08-3B2B59711278}"/>
          </ac:spMkLst>
        </pc:spChg>
        <pc:spChg chg="mod">
          <ac:chgData name="CACERES SANDOVAL, EVA MARIA" userId="efa43ab3-f30d-49e0-8bcf-cbcf637d4549" providerId="ADAL" clId="{AC524F4A-C208-4D5E-910C-7C486E8EA4B5}" dt="2025-01-20T18:25:01.443" v="2964" actId="1076"/>
          <ac:spMkLst>
            <pc:docMk/>
            <pc:sldMk cId="1911634418" sldId="294"/>
            <ac:spMk id="4" creationId="{19A7A5CC-C7F1-1A88-CF54-31D5B8150FAD}"/>
          </ac:spMkLst>
        </pc:spChg>
      </pc:sldChg>
      <pc:sldChg chg="add">
        <pc:chgData name="CACERES SANDOVAL, EVA MARIA" userId="efa43ab3-f30d-49e0-8bcf-cbcf637d4549" providerId="ADAL" clId="{AC524F4A-C208-4D5E-910C-7C486E8EA4B5}" dt="2025-01-20T13:15:00.076" v="1"/>
        <pc:sldMkLst>
          <pc:docMk/>
          <pc:sldMk cId="2071524738" sldId="454"/>
        </pc:sldMkLst>
      </pc:sldChg>
      <pc:sldChg chg="del">
        <pc:chgData name="CACERES SANDOVAL, EVA MARIA" userId="efa43ab3-f30d-49e0-8bcf-cbcf637d4549" providerId="ADAL" clId="{AC524F4A-C208-4D5E-910C-7C486E8EA4B5}" dt="2025-01-20T13:14:43.871" v="0" actId="2696"/>
        <pc:sldMkLst>
          <pc:docMk/>
          <pc:sldMk cId="2526406959" sldId="454"/>
        </pc:sldMkLst>
      </pc:sldChg>
      <pc:sldChg chg="addSp modSp add mod modNotesTx">
        <pc:chgData name="CACERES SANDOVAL, EVA MARIA" userId="efa43ab3-f30d-49e0-8bcf-cbcf637d4549" providerId="ADAL" clId="{AC524F4A-C208-4D5E-910C-7C486E8EA4B5}" dt="2025-01-20T18:37:09.456" v="3356" actId="207"/>
        <pc:sldMkLst>
          <pc:docMk/>
          <pc:sldMk cId="2021102318" sldId="459"/>
        </pc:sldMkLst>
        <pc:spChg chg="add mod">
          <ac:chgData name="CACERES SANDOVAL, EVA MARIA" userId="efa43ab3-f30d-49e0-8bcf-cbcf637d4549" providerId="ADAL" clId="{AC524F4A-C208-4D5E-910C-7C486E8EA4B5}" dt="2025-01-20T18:27:27.217" v="2986" actId="1076"/>
          <ac:spMkLst>
            <pc:docMk/>
            <pc:sldMk cId="2021102318" sldId="459"/>
            <ac:spMk id="3" creationId="{0CF3FF77-CCAB-70CD-270D-0D9EF137C0B0}"/>
          </ac:spMkLst>
        </pc:spChg>
        <pc:spChg chg="mod">
          <ac:chgData name="CACERES SANDOVAL, EVA MARIA" userId="efa43ab3-f30d-49e0-8bcf-cbcf637d4549" providerId="ADAL" clId="{AC524F4A-C208-4D5E-910C-7C486E8EA4B5}" dt="2025-01-20T18:37:09.456" v="3356" actId="207"/>
          <ac:spMkLst>
            <pc:docMk/>
            <pc:sldMk cId="2021102318" sldId="459"/>
            <ac:spMk id="5" creationId="{EE92387E-268B-9A1F-489C-1C5F9CFE8940}"/>
          </ac:spMkLst>
        </pc:spChg>
        <pc:spChg chg="mod">
          <ac:chgData name="CACERES SANDOVAL, EVA MARIA" userId="efa43ab3-f30d-49e0-8bcf-cbcf637d4549" providerId="ADAL" clId="{AC524F4A-C208-4D5E-910C-7C486E8EA4B5}" dt="2025-01-20T16:12:56.037" v="367" actId="164"/>
          <ac:spMkLst>
            <pc:docMk/>
            <pc:sldMk cId="2021102318" sldId="459"/>
            <ac:spMk id="34" creationId="{2502D75E-4413-04EB-CAF8-C74D3CD3192E}"/>
          </ac:spMkLst>
        </pc:spChg>
        <pc:spChg chg="mod">
          <ac:chgData name="CACERES SANDOVAL, EVA MARIA" userId="efa43ab3-f30d-49e0-8bcf-cbcf637d4549" providerId="ADAL" clId="{AC524F4A-C208-4D5E-910C-7C486E8EA4B5}" dt="2025-01-20T16:12:56.037" v="367" actId="164"/>
          <ac:spMkLst>
            <pc:docMk/>
            <pc:sldMk cId="2021102318" sldId="459"/>
            <ac:spMk id="40" creationId="{71BBBA18-494D-6256-1F54-C03CA468DCEF}"/>
          </ac:spMkLst>
        </pc:spChg>
        <pc:spChg chg="mod">
          <ac:chgData name="CACERES SANDOVAL, EVA MARIA" userId="efa43ab3-f30d-49e0-8bcf-cbcf637d4549" providerId="ADAL" clId="{AC524F4A-C208-4D5E-910C-7C486E8EA4B5}" dt="2025-01-20T16:12:56.037" v="367" actId="164"/>
          <ac:spMkLst>
            <pc:docMk/>
            <pc:sldMk cId="2021102318" sldId="459"/>
            <ac:spMk id="44" creationId="{9F1A59CC-3ED1-2B2C-9854-BB44373C4FB1}"/>
          </ac:spMkLst>
        </pc:spChg>
        <pc:spChg chg="mod">
          <ac:chgData name="CACERES SANDOVAL, EVA MARIA" userId="efa43ab3-f30d-49e0-8bcf-cbcf637d4549" providerId="ADAL" clId="{AC524F4A-C208-4D5E-910C-7C486E8EA4B5}" dt="2025-01-20T16:12:56.037" v="367" actId="164"/>
          <ac:spMkLst>
            <pc:docMk/>
            <pc:sldMk cId="2021102318" sldId="459"/>
            <ac:spMk id="51" creationId="{627BB7DE-2334-90BE-8136-BC9237B8E533}"/>
          </ac:spMkLst>
        </pc:spChg>
        <pc:spChg chg="mod">
          <ac:chgData name="CACERES SANDOVAL, EVA MARIA" userId="efa43ab3-f30d-49e0-8bcf-cbcf637d4549" providerId="ADAL" clId="{AC524F4A-C208-4D5E-910C-7C486E8EA4B5}" dt="2025-01-20T16:12:56.037" v="367" actId="164"/>
          <ac:spMkLst>
            <pc:docMk/>
            <pc:sldMk cId="2021102318" sldId="459"/>
            <ac:spMk id="52" creationId="{16306099-8AF2-BE8C-B8EA-0AEAA9CA72E2}"/>
          </ac:spMkLst>
        </pc:spChg>
        <pc:spChg chg="mod">
          <ac:chgData name="CACERES SANDOVAL, EVA MARIA" userId="efa43ab3-f30d-49e0-8bcf-cbcf637d4549" providerId="ADAL" clId="{AC524F4A-C208-4D5E-910C-7C486E8EA4B5}" dt="2025-01-20T16:12:56.037" v="367" actId="164"/>
          <ac:spMkLst>
            <pc:docMk/>
            <pc:sldMk cId="2021102318" sldId="459"/>
            <ac:spMk id="53" creationId="{B75A62A0-0798-474C-8C86-37A69CF7DC25}"/>
          </ac:spMkLst>
        </pc:spChg>
        <pc:spChg chg="mod">
          <ac:chgData name="CACERES SANDOVAL, EVA MARIA" userId="efa43ab3-f30d-49e0-8bcf-cbcf637d4549" providerId="ADAL" clId="{AC524F4A-C208-4D5E-910C-7C486E8EA4B5}" dt="2025-01-20T16:12:56.037" v="367" actId="164"/>
          <ac:spMkLst>
            <pc:docMk/>
            <pc:sldMk cId="2021102318" sldId="459"/>
            <ac:spMk id="54" creationId="{FD7040A8-52FC-7ACC-94B4-E281A6CC333E}"/>
          </ac:spMkLst>
        </pc:spChg>
        <pc:spChg chg="mod">
          <ac:chgData name="CACERES SANDOVAL, EVA MARIA" userId="efa43ab3-f30d-49e0-8bcf-cbcf637d4549" providerId="ADAL" clId="{AC524F4A-C208-4D5E-910C-7C486E8EA4B5}" dt="2025-01-20T16:12:56.037" v="367" actId="164"/>
          <ac:spMkLst>
            <pc:docMk/>
            <pc:sldMk cId="2021102318" sldId="459"/>
            <ac:spMk id="55" creationId="{1019E983-20A5-AD99-AC14-8A2A5108E089}"/>
          </ac:spMkLst>
        </pc:spChg>
        <pc:spChg chg="mod">
          <ac:chgData name="CACERES SANDOVAL, EVA MARIA" userId="efa43ab3-f30d-49e0-8bcf-cbcf637d4549" providerId="ADAL" clId="{AC524F4A-C208-4D5E-910C-7C486E8EA4B5}" dt="2025-01-20T16:12:56.037" v="367" actId="164"/>
          <ac:spMkLst>
            <pc:docMk/>
            <pc:sldMk cId="2021102318" sldId="459"/>
            <ac:spMk id="56" creationId="{5043372B-3B67-2CB3-F123-7BEC6C6E798D}"/>
          </ac:spMkLst>
        </pc:spChg>
        <pc:spChg chg="mod">
          <ac:chgData name="CACERES SANDOVAL, EVA MARIA" userId="efa43ab3-f30d-49e0-8bcf-cbcf637d4549" providerId="ADAL" clId="{AC524F4A-C208-4D5E-910C-7C486E8EA4B5}" dt="2025-01-20T16:12:56.037" v="367" actId="164"/>
          <ac:spMkLst>
            <pc:docMk/>
            <pc:sldMk cId="2021102318" sldId="459"/>
            <ac:spMk id="57" creationId="{E3F33414-B2CD-302F-6C48-584AE47BFF4E}"/>
          </ac:spMkLst>
        </pc:spChg>
        <pc:spChg chg="mod">
          <ac:chgData name="CACERES SANDOVAL, EVA MARIA" userId="efa43ab3-f30d-49e0-8bcf-cbcf637d4549" providerId="ADAL" clId="{AC524F4A-C208-4D5E-910C-7C486E8EA4B5}" dt="2025-01-20T16:12:56.037" v="367" actId="164"/>
          <ac:spMkLst>
            <pc:docMk/>
            <pc:sldMk cId="2021102318" sldId="459"/>
            <ac:spMk id="58" creationId="{90720B68-3D72-E271-AF65-6D164DD071C8}"/>
          </ac:spMkLst>
        </pc:spChg>
        <pc:spChg chg="mod">
          <ac:chgData name="CACERES SANDOVAL, EVA MARIA" userId="efa43ab3-f30d-49e0-8bcf-cbcf637d4549" providerId="ADAL" clId="{AC524F4A-C208-4D5E-910C-7C486E8EA4B5}" dt="2025-01-20T16:12:56.037" v="367" actId="164"/>
          <ac:spMkLst>
            <pc:docMk/>
            <pc:sldMk cId="2021102318" sldId="459"/>
            <ac:spMk id="59" creationId="{F8EA8828-FCDB-669F-3299-030E554C4034}"/>
          </ac:spMkLst>
        </pc:spChg>
        <pc:spChg chg="mod">
          <ac:chgData name="CACERES SANDOVAL, EVA MARIA" userId="efa43ab3-f30d-49e0-8bcf-cbcf637d4549" providerId="ADAL" clId="{AC524F4A-C208-4D5E-910C-7C486E8EA4B5}" dt="2025-01-20T16:12:56.037" v="367" actId="164"/>
          <ac:spMkLst>
            <pc:docMk/>
            <pc:sldMk cId="2021102318" sldId="459"/>
            <ac:spMk id="61" creationId="{CCF7F9B1-AE89-BB59-A4B6-B987D59D5B52}"/>
          </ac:spMkLst>
        </pc:spChg>
        <pc:spChg chg="mod">
          <ac:chgData name="CACERES SANDOVAL, EVA MARIA" userId="efa43ab3-f30d-49e0-8bcf-cbcf637d4549" providerId="ADAL" clId="{AC524F4A-C208-4D5E-910C-7C486E8EA4B5}" dt="2025-01-20T16:12:56.037" v="367" actId="164"/>
          <ac:spMkLst>
            <pc:docMk/>
            <pc:sldMk cId="2021102318" sldId="459"/>
            <ac:spMk id="62" creationId="{90014715-996C-8C74-CFE7-1A6D398B13DE}"/>
          </ac:spMkLst>
        </pc:spChg>
        <pc:spChg chg="mod">
          <ac:chgData name="CACERES SANDOVAL, EVA MARIA" userId="efa43ab3-f30d-49e0-8bcf-cbcf637d4549" providerId="ADAL" clId="{AC524F4A-C208-4D5E-910C-7C486E8EA4B5}" dt="2025-01-20T16:12:56.037" v="367" actId="164"/>
          <ac:spMkLst>
            <pc:docMk/>
            <pc:sldMk cId="2021102318" sldId="459"/>
            <ac:spMk id="63" creationId="{D2DCBE87-C22C-572D-2ED1-DD84D31048F7}"/>
          </ac:spMkLst>
        </pc:spChg>
        <pc:spChg chg="mod">
          <ac:chgData name="CACERES SANDOVAL, EVA MARIA" userId="efa43ab3-f30d-49e0-8bcf-cbcf637d4549" providerId="ADAL" clId="{AC524F4A-C208-4D5E-910C-7C486E8EA4B5}" dt="2025-01-20T16:12:56.037" v="367" actId="164"/>
          <ac:spMkLst>
            <pc:docMk/>
            <pc:sldMk cId="2021102318" sldId="459"/>
            <ac:spMk id="64" creationId="{3EE3A111-E2B0-BF99-3272-41BD2BB6848B}"/>
          </ac:spMkLst>
        </pc:spChg>
        <pc:spChg chg="mod">
          <ac:chgData name="CACERES SANDOVAL, EVA MARIA" userId="efa43ab3-f30d-49e0-8bcf-cbcf637d4549" providerId="ADAL" clId="{AC524F4A-C208-4D5E-910C-7C486E8EA4B5}" dt="2025-01-20T16:12:56.037" v="367" actId="164"/>
          <ac:spMkLst>
            <pc:docMk/>
            <pc:sldMk cId="2021102318" sldId="459"/>
            <ac:spMk id="65" creationId="{2D1D9CB0-591B-D175-247B-7AA806134954}"/>
          </ac:spMkLst>
        </pc:spChg>
        <pc:spChg chg="mod">
          <ac:chgData name="CACERES SANDOVAL, EVA MARIA" userId="efa43ab3-f30d-49e0-8bcf-cbcf637d4549" providerId="ADAL" clId="{AC524F4A-C208-4D5E-910C-7C486E8EA4B5}" dt="2025-01-20T16:12:56.037" v="367" actId="164"/>
          <ac:spMkLst>
            <pc:docMk/>
            <pc:sldMk cId="2021102318" sldId="459"/>
            <ac:spMk id="66" creationId="{CBC90BE3-8160-15CB-314A-1BEC1650BEEF}"/>
          </ac:spMkLst>
        </pc:spChg>
        <pc:grpChg chg="add mod">
          <ac:chgData name="CACERES SANDOVAL, EVA MARIA" userId="efa43ab3-f30d-49e0-8bcf-cbcf637d4549" providerId="ADAL" clId="{AC524F4A-C208-4D5E-910C-7C486E8EA4B5}" dt="2025-01-20T16:12:56.037" v="367" actId="164"/>
          <ac:grpSpMkLst>
            <pc:docMk/>
            <pc:sldMk cId="2021102318" sldId="459"/>
            <ac:grpSpMk id="2" creationId="{86AD6B20-2D74-2DF7-EC9C-106593A8E0E1}"/>
          </ac:grpSpMkLst>
        </pc:grpChg>
        <pc:grpChg chg="mod">
          <ac:chgData name="CACERES SANDOVAL, EVA MARIA" userId="efa43ab3-f30d-49e0-8bcf-cbcf637d4549" providerId="ADAL" clId="{AC524F4A-C208-4D5E-910C-7C486E8EA4B5}" dt="2025-01-20T16:12:56.037" v="367" actId="164"/>
          <ac:grpSpMkLst>
            <pc:docMk/>
            <pc:sldMk cId="2021102318" sldId="459"/>
            <ac:grpSpMk id="7" creationId="{36500A18-2D5D-CB2E-BAAC-8D90FDE3410C}"/>
          </ac:grpSpMkLst>
        </pc:grpChg>
      </pc:sldChg>
      <pc:sldChg chg="del">
        <pc:chgData name="CACERES SANDOVAL, EVA MARIA" userId="efa43ab3-f30d-49e0-8bcf-cbcf637d4549" providerId="ADAL" clId="{AC524F4A-C208-4D5E-910C-7C486E8EA4B5}" dt="2025-01-20T13:14:43.871" v="0" actId="2696"/>
        <pc:sldMkLst>
          <pc:docMk/>
          <pc:sldMk cId="3159271810" sldId="459"/>
        </pc:sldMkLst>
      </pc:sldChg>
      <pc:sldChg chg="del">
        <pc:chgData name="CACERES SANDOVAL, EVA MARIA" userId="efa43ab3-f30d-49e0-8bcf-cbcf637d4549" providerId="ADAL" clId="{AC524F4A-C208-4D5E-910C-7C486E8EA4B5}" dt="2025-01-20T13:14:43.871" v="0" actId="2696"/>
        <pc:sldMkLst>
          <pc:docMk/>
          <pc:sldMk cId="1199292189" sldId="460"/>
        </pc:sldMkLst>
      </pc:sldChg>
      <pc:sldChg chg="modSp add mod">
        <pc:chgData name="CACERES SANDOVAL, EVA MARIA" userId="efa43ab3-f30d-49e0-8bcf-cbcf637d4549" providerId="ADAL" clId="{AC524F4A-C208-4D5E-910C-7C486E8EA4B5}" dt="2025-01-20T17:31:06.758" v="2878" actId="20577"/>
        <pc:sldMkLst>
          <pc:docMk/>
          <pc:sldMk cId="3250579648" sldId="460"/>
        </pc:sldMkLst>
        <pc:spChg chg="mod">
          <ac:chgData name="CACERES SANDOVAL, EVA MARIA" userId="efa43ab3-f30d-49e0-8bcf-cbcf637d4549" providerId="ADAL" clId="{AC524F4A-C208-4D5E-910C-7C486E8EA4B5}" dt="2025-01-20T17:31:06.758" v="2878" actId="20577"/>
          <ac:spMkLst>
            <pc:docMk/>
            <pc:sldMk cId="3250579648" sldId="460"/>
            <ac:spMk id="2" creationId="{39854CD9-2BB7-22C8-5DB2-92D75FC4F7B7}"/>
          </ac:spMkLst>
        </pc:spChg>
        <pc:spChg chg="mod">
          <ac:chgData name="CACERES SANDOVAL, EVA MARIA" userId="efa43ab3-f30d-49e0-8bcf-cbcf637d4549" providerId="ADAL" clId="{AC524F4A-C208-4D5E-910C-7C486E8EA4B5}" dt="2025-01-20T17:30:37.990" v="2817" actId="20577"/>
          <ac:spMkLst>
            <pc:docMk/>
            <pc:sldMk cId="3250579648" sldId="460"/>
            <ac:spMk id="43" creationId="{FBB2B007-6E5B-ABC5-8122-58049A0A54FF}"/>
          </ac:spMkLst>
        </pc:spChg>
        <pc:spChg chg="mod">
          <ac:chgData name="CACERES SANDOVAL, EVA MARIA" userId="efa43ab3-f30d-49e0-8bcf-cbcf637d4549" providerId="ADAL" clId="{AC524F4A-C208-4D5E-910C-7C486E8EA4B5}" dt="2025-01-20T17:29:52.332" v="2776" actId="20577"/>
          <ac:spMkLst>
            <pc:docMk/>
            <pc:sldMk cId="3250579648" sldId="460"/>
            <ac:spMk id="102" creationId="{2D80B280-C56F-8B3F-DFFE-06632909EA9C}"/>
          </ac:spMkLst>
        </pc:spChg>
      </pc:sldChg>
      <pc:sldChg chg="add del">
        <pc:chgData name="CACERES SANDOVAL, EVA MARIA" userId="efa43ab3-f30d-49e0-8bcf-cbcf637d4549" providerId="ADAL" clId="{AC524F4A-C208-4D5E-910C-7C486E8EA4B5}" dt="2025-01-20T13:17:50.802" v="140" actId="2696"/>
        <pc:sldMkLst>
          <pc:docMk/>
          <pc:sldMk cId="4163634295" sldId="460"/>
        </pc:sldMkLst>
      </pc:sldChg>
      <pc:sldChg chg="del">
        <pc:chgData name="CACERES SANDOVAL, EVA MARIA" userId="efa43ab3-f30d-49e0-8bcf-cbcf637d4549" providerId="ADAL" clId="{AC524F4A-C208-4D5E-910C-7C486E8EA4B5}" dt="2025-01-20T13:14:43.871" v="0" actId="2696"/>
        <pc:sldMkLst>
          <pc:docMk/>
          <pc:sldMk cId="706791845" sldId="461"/>
        </pc:sldMkLst>
      </pc:sldChg>
      <pc:sldChg chg="modSp add mod">
        <pc:chgData name="CACERES SANDOVAL, EVA MARIA" userId="efa43ab3-f30d-49e0-8bcf-cbcf637d4549" providerId="ADAL" clId="{AC524F4A-C208-4D5E-910C-7C486E8EA4B5}" dt="2025-01-20T16:41:13.608" v="1942" actId="20577"/>
        <pc:sldMkLst>
          <pc:docMk/>
          <pc:sldMk cId="1476325271" sldId="461"/>
        </pc:sldMkLst>
        <pc:spChg chg="mod">
          <ac:chgData name="CACERES SANDOVAL, EVA MARIA" userId="efa43ab3-f30d-49e0-8bcf-cbcf637d4549" providerId="ADAL" clId="{AC524F4A-C208-4D5E-910C-7C486E8EA4B5}" dt="2025-01-20T16:41:13.608" v="1942" actId="20577"/>
          <ac:spMkLst>
            <pc:docMk/>
            <pc:sldMk cId="1476325271" sldId="461"/>
            <ac:spMk id="2" creationId="{8D763E11-F3CC-18C3-E0AA-94D89D53A965}"/>
          </ac:spMkLst>
        </pc:spChg>
      </pc:sldChg>
      <pc:sldChg chg="del">
        <pc:chgData name="CACERES SANDOVAL, EVA MARIA" userId="efa43ab3-f30d-49e0-8bcf-cbcf637d4549" providerId="ADAL" clId="{AC524F4A-C208-4D5E-910C-7C486E8EA4B5}" dt="2025-01-20T13:14:43.871" v="0" actId="2696"/>
        <pc:sldMkLst>
          <pc:docMk/>
          <pc:sldMk cId="1560334156" sldId="462"/>
        </pc:sldMkLst>
      </pc:sldChg>
      <pc:sldChg chg="addSp modSp add mod modNotesTx">
        <pc:chgData name="CACERES SANDOVAL, EVA MARIA" userId="efa43ab3-f30d-49e0-8bcf-cbcf637d4549" providerId="ADAL" clId="{AC524F4A-C208-4D5E-910C-7C486E8EA4B5}" dt="2025-01-20T18:37:02.851" v="3355" actId="207"/>
        <pc:sldMkLst>
          <pc:docMk/>
          <pc:sldMk cId="4078864902" sldId="462"/>
        </pc:sldMkLst>
        <pc:spChg chg="mod">
          <ac:chgData name="CACERES SANDOVAL, EVA MARIA" userId="efa43ab3-f30d-49e0-8bcf-cbcf637d4549" providerId="ADAL" clId="{AC524F4A-C208-4D5E-910C-7C486E8EA4B5}" dt="2025-01-20T18:32:57.339" v="3261" actId="1076"/>
          <ac:spMkLst>
            <pc:docMk/>
            <pc:sldMk cId="4078864902" sldId="462"/>
            <ac:spMk id="2" creationId="{D49B20A6-D3D9-BE34-D069-9E4F59E4E673}"/>
          </ac:spMkLst>
        </pc:spChg>
        <pc:spChg chg="mod">
          <ac:chgData name="CACERES SANDOVAL, EVA MARIA" userId="efa43ab3-f30d-49e0-8bcf-cbcf637d4549" providerId="ADAL" clId="{AC524F4A-C208-4D5E-910C-7C486E8EA4B5}" dt="2025-01-20T18:33:01.650" v="3263" actId="1076"/>
          <ac:spMkLst>
            <pc:docMk/>
            <pc:sldMk cId="4078864902" sldId="462"/>
            <ac:spMk id="4" creationId="{909650AF-A1D0-3613-5C45-6DF2940733C1}"/>
          </ac:spMkLst>
        </pc:spChg>
        <pc:spChg chg="mod">
          <ac:chgData name="CACERES SANDOVAL, EVA MARIA" userId="efa43ab3-f30d-49e0-8bcf-cbcf637d4549" providerId="ADAL" clId="{AC524F4A-C208-4D5E-910C-7C486E8EA4B5}" dt="2025-01-20T18:37:02.851" v="3355" actId="207"/>
          <ac:spMkLst>
            <pc:docMk/>
            <pc:sldMk cId="4078864902" sldId="462"/>
            <ac:spMk id="5" creationId="{EE92387E-268B-9A1F-489C-1C5F9CFE8940}"/>
          </ac:spMkLst>
        </pc:spChg>
        <pc:grpChg chg="mod">
          <ac:chgData name="CACERES SANDOVAL, EVA MARIA" userId="efa43ab3-f30d-49e0-8bcf-cbcf637d4549" providerId="ADAL" clId="{AC524F4A-C208-4D5E-910C-7C486E8EA4B5}" dt="2025-01-20T18:32:59.526" v="3262" actId="1076"/>
          <ac:grpSpMkLst>
            <pc:docMk/>
            <pc:sldMk cId="4078864902" sldId="462"/>
            <ac:grpSpMk id="22" creationId="{89FBE6F9-4330-6238-C264-98EDF51292C3}"/>
          </ac:grpSpMkLst>
        </pc:grpChg>
        <pc:picChg chg="add mod">
          <ac:chgData name="CACERES SANDOVAL, EVA MARIA" userId="efa43ab3-f30d-49e0-8bcf-cbcf637d4549" providerId="ADAL" clId="{AC524F4A-C208-4D5E-910C-7C486E8EA4B5}" dt="2025-01-20T18:33:05.852" v="3264" actId="1076"/>
          <ac:picMkLst>
            <pc:docMk/>
            <pc:sldMk cId="4078864902" sldId="462"/>
            <ac:picMk id="6" creationId="{82787A76-2303-D841-5269-B4B65CACB31C}"/>
          </ac:picMkLst>
        </pc:picChg>
        <pc:picChg chg="mod">
          <ac:chgData name="CACERES SANDOVAL, EVA MARIA" userId="efa43ab3-f30d-49e0-8bcf-cbcf637d4549" providerId="ADAL" clId="{AC524F4A-C208-4D5E-910C-7C486E8EA4B5}" dt="2025-01-20T18:32:55.516" v="3260" actId="1076"/>
          <ac:picMkLst>
            <pc:docMk/>
            <pc:sldMk cId="4078864902" sldId="462"/>
            <ac:picMk id="7" creationId="{349122D0-9A58-0FE3-D0F6-5DC3CADF86CA}"/>
          </ac:picMkLst>
        </pc:picChg>
      </pc:sldChg>
      <pc:sldChg chg="addSp delSp modSp mod">
        <pc:chgData name="CACERES SANDOVAL, EVA MARIA" userId="efa43ab3-f30d-49e0-8bcf-cbcf637d4549" providerId="ADAL" clId="{AC524F4A-C208-4D5E-910C-7C486E8EA4B5}" dt="2025-01-20T16:31:43.746" v="1442" actId="13822"/>
        <pc:sldMkLst>
          <pc:docMk/>
          <pc:sldMk cId="431565556" sldId="931"/>
        </pc:sldMkLst>
        <pc:spChg chg="add del mod">
          <ac:chgData name="CACERES SANDOVAL, EVA MARIA" userId="efa43ab3-f30d-49e0-8bcf-cbcf637d4549" providerId="ADAL" clId="{AC524F4A-C208-4D5E-910C-7C486E8EA4B5}" dt="2025-01-20T16:22:35.566" v="748" actId="478"/>
          <ac:spMkLst>
            <pc:docMk/>
            <pc:sldMk cId="431565556" sldId="931"/>
            <ac:spMk id="3" creationId="{8EAAB6F7-50E8-F2BE-3075-B2CA7F3C22AA}"/>
          </ac:spMkLst>
        </pc:spChg>
        <pc:spChg chg="add mod">
          <ac:chgData name="CACERES SANDOVAL, EVA MARIA" userId="efa43ab3-f30d-49e0-8bcf-cbcf637d4549" providerId="ADAL" clId="{AC524F4A-C208-4D5E-910C-7C486E8EA4B5}" dt="2025-01-20T16:30:49.586" v="1433" actId="207"/>
          <ac:spMkLst>
            <pc:docMk/>
            <pc:sldMk cId="431565556" sldId="931"/>
            <ac:spMk id="5" creationId="{A66DD864-1A64-E3E5-C9BD-6AA9094C0F3C}"/>
          </ac:spMkLst>
        </pc:spChg>
        <pc:spChg chg="add mod">
          <ac:chgData name="CACERES SANDOVAL, EVA MARIA" userId="efa43ab3-f30d-49e0-8bcf-cbcf637d4549" providerId="ADAL" clId="{AC524F4A-C208-4D5E-910C-7C486E8EA4B5}" dt="2025-01-20T16:31:30.777" v="1440" actId="1076"/>
          <ac:spMkLst>
            <pc:docMk/>
            <pc:sldMk cId="431565556" sldId="931"/>
            <ac:spMk id="6" creationId="{D74F106B-9EF6-3B62-33D2-2FB5A3BEDC96}"/>
          </ac:spMkLst>
        </pc:spChg>
        <pc:spChg chg="add del mod">
          <ac:chgData name="CACERES SANDOVAL, EVA MARIA" userId="efa43ab3-f30d-49e0-8bcf-cbcf637d4549" providerId="ADAL" clId="{AC524F4A-C208-4D5E-910C-7C486E8EA4B5}" dt="2025-01-20T16:30:27.646" v="1419" actId="478"/>
          <ac:spMkLst>
            <pc:docMk/>
            <pc:sldMk cId="431565556" sldId="931"/>
            <ac:spMk id="9" creationId="{69F56BE9-29CA-2153-26C0-49DE64C2AD9C}"/>
          </ac:spMkLst>
        </pc:spChg>
        <pc:spChg chg="mod">
          <ac:chgData name="CACERES SANDOVAL, EVA MARIA" userId="efa43ab3-f30d-49e0-8bcf-cbcf637d4549" providerId="ADAL" clId="{AC524F4A-C208-4D5E-910C-7C486E8EA4B5}" dt="2025-01-20T16:30:13.754" v="1416" actId="20577"/>
          <ac:spMkLst>
            <pc:docMk/>
            <pc:sldMk cId="431565556" sldId="931"/>
            <ac:spMk id="17" creationId="{2F1D8672-4D91-CDB6-8FFF-8DDBD730B453}"/>
          </ac:spMkLst>
        </pc:spChg>
        <pc:grpChg chg="add mod">
          <ac:chgData name="CACERES SANDOVAL, EVA MARIA" userId="efa43ab3-f30d-49e0-8bcf-cbcf637d4549" providerId="ADAL" clId="{AC524F4A-C208-4D5E-910C-7C486E8EA4B5}" dt="2025-01-20T16:31:27.954" v="1439" actId="1076"/>
          <ac:grpSpMkLst>
            <pc:docMk/>
            <pc:sldMk cId="431565556" sldId="931"/>
            <ac:grpSpMk id="7" creationId="{C9F9384B-AFCD-E4A5-BD47-AC6AB5651833}"/>
          </ac:grpSpMkLst>
        </pc:grpChg>
        <pc:picChg chg="mod">
          <ac:chgData name="CACERES SANDOVAL, EVA MARIA" userId="efa43ab3-f30d-49e0-8bcf-cbcf637d4549" providerId="ADAL" clId="{AC524F4A-C208-4D5E-910C-7C486E8EA4B5}" dt="2025-01-20T16:24:35.522" v="895" actId="1076"/>
          <ac:picMkLst>
            <pc:docMk/>
            <pc:sldMk cId="431565556" sldId="931"/>
            <ac:picMk id="8" creationId="{283DCD01-F973-4C84-1FAF-6509770161EF}"/>
          </ac:picMkLst>
        </pc:picChg>
        <pc:cxnChg chg="add mod">
          <ac:chgData name="CACERES SANDOVAL, EVA MARIA" userId="efa43ab3-f30d-49e0-8bcf-cbcf637d4549" providerId="ADAL" clId="{AC524F4A-C208-4D5E-910C-7C486E8EA4B5}" dt="2025-01-20T16:31:43.746" v="1442" actId="13822"/>
          <ac:cxnSpMkLst>
            <pc:docMk/>
            <pc:sldMk cId="431565556" sldId="931"/>
            <ac:cxnSpMk id="11" creationId="{AC65B9C6-3085-73FC-D717-7AF2285CE1F0}"/>
          </ac:cxnSpMkLst>
        </pc:cxnChg>
      </pc:sldChg>
      <pc:sldChg chg="addSp delSp modSp mod">
        <pc:chgData name="CACERES SANDOVAL, EVA MARIA" userId="efa43ab3-f30d-49e0-8bcf-cbcf637d4549" providerId="ADAL" clId="{AC524F4A-C208-4D5E-910C-7C486E8EA4B5}" dt="2025-01-20T18:39:14.935" v="3485" actId="20577"/>
        <pc:sldMkLst>
          <pc:docMk/>
          <pc:sldMk cId="4060697977" sldId="933"/>
        </pc:sldMkLst>
        <pc:spChg chg="mod">
          <ac:chgData name="CACERES SANDOVAL, EVA MARIA" userId="efa43ab3-f30d-49e0-8bcf-cbcf637d4549" providerId="ADAL" clId="{AC524F4A-C208-4D5E-910C-7C486E8EA4B5}" dt="2025-01-20T18:39:05.585" v="3473" actId="6549"/>
          <ac:spMkLst>
            <pc:docMk/>
            <pc:sldMk cId="4060697977" sldId="933"/>
            <ac:spMk id="2" creationId="{D911260F-ED60-62A5-2257-68DDA3BCA723}"/>
          </ac:spMkLst>
        </pc:spChg>
        <pc:spChg chg="add del mod">
          <ac:chgData name="CACERES SANDOVAL, EVA MARIA" userId="efa43ab3-f30d-49e0-8bcf-cbcf637d4549" providerId="ADAL" clId="{AC524F4A-C208-4D5E-910C-7C486E8EA4B5}" dt="2025-01-20T16:34:24.127" v="1551" actId="1076"/>
          <ac:spMkLst>
            <pc:docMk/>
            <pc:sldMk cId="4060697977" sldId="933"/>
            <ac:spMk id="5" creationId="{8424E0A0-0331-BAB1-177C-2EEF0B6BF013}"/>
          </ac:spMkLst>
        </pc:spChg>
        <pc:spChg chg="mod">
          <ac:chgData name="CACERES SANDOVAL, EVA MARIA" userId="efa43ab3-f30d-49e0-8bcf-cbcf637d4549" providerId="ADAL" clId="{AC524F4A-C208-4D5E-910C-7C486E8EA4B5}" dt="2025-01-20T18:39:14.935" v="3485" actId="20577"/>
          <ac:spMkLst>
            <pc:docMk/>
            <pc:sldMk cId="4060697977" sldId="933"/>
            <ac:spMk id="7" creationId="{A4ECA384-825A-F461-83EF-0059D2C17753}"/>
          </ac:spMkLst>
        </pc:spChg>
        <pc:spChg chg="add mod">
          <ac:chgData name="CACERES SANDOVAL, EVA MARIA" userId="efa43ab3-f30d-49e0-8bcf-cbcf637d4549" providerId="ADAL" clId="{AC524F4A-C208-4D5E-910C-7C486E8EA4B5}" dt="2025-01-20T16:35:04.166" v="1562" actId="208"/>
          <ac:spMkLst>
            <pc:docMk/>
            <pc:sldMk cId="4060697977" sldId="933"/>
            <ac:spMk id="9" creationId="{C884A6F1-42EC-7B8A-50A6-7225FF66E093}"/>
          </ac:spMkLst>
        </pc:spChg>
        <pc:spChg chg="add mod">
          <ac:chgData name="CACERES SANDOVAL, EVA MARIA" userId="efa43ab3-f30d-49e0-8bcf-cbcf637d4549" providerId="ADAL" clId="{AC524F4A-C208-4D5E-910C-7C486E8EA4B5}" dt="2025-01-20T16:34:30.015" v="1554" actId="1076"/>
          <ac:spMkLst>
            <pc:docMk/>
            <pc:sldMk cId="4060697977" sldId="933"/>
            <ac:spMk id="10" creationId="{B0501B01-1395-65F6-9179-533106FEBBA0}"/>
          </ac:spMkLst>
        </pc:spChg>
        <pc:spChg chg="add del mod">
          <ac:chgData name="CACERES SANDOVAL, EVA MARIA" userId="efa43ab3-f30d-49e0-8bcf-cbcf637d4549" providerId="ADAL" clId="{AC524F4A-C208-4D5E-910C-7C486E8EA4B5}" dt="2025-01-20T16:44:02.262" v="2128" actId="11529"/>
          <ac:spMkLst>
            <pc:docMk/>
            <pc:sldMk cId="4060697977" sldId="933"/>
            <ac:spMk id="15" creationId="{882D02EF-18EA-6E71-EFE6-11C9DB77A201}"/>
          </ac:spMkLst>
        </pc:spChg>
        <pc:spChg chg="add del">
          <ac:chgData name="CACERES SANDOVAL, EVA MARIA" userId="efa43ab3-f30d-49e0-8bcf-cbcf637d4549" providerId="ADAL" clId="{AC524F4A-C208-4D5E-910C-7C486E8EA4B5}" dt="2025-01-20T16:44:00.754" v="2125" actId="11529"/>
          <ac:spMkLst>
            <pc:docMk/>
            <pc:sldMk cId="4060697977" sldId="933"/>
            <ac:spMk id="16" creationId="{2E8102F2-462A-4397-2893-3E19DD99BEB5}"/>
          </ac:spMkLst>
        </pc:spChg>
        <pc:spChg chg="add del mod">
          <ac:chgData name="CACERES SANDOVAL, EVA MARIA" userId="efa43ab3-f30d-49e0-8bcf-cbcf637d4549" providerId="ADAL" clId="{AC524F4A-C208-4D5E-910C-7C486E8EA4B5}" dt="2025-01-20T16:45:11.866" v="2139" actId="478"/>
          <ac:spMkLst>
            <pc:docMk/>
            <pc:sldMk cId="4060697977" sldId="933"/>
            <ac:spMk id="17" creationId="{E016BEEA-4786-2911-52A7-558646A0C847}"/>
          </ac:spMkLst>
        </pc:spChg>
        <pc:spChg chg="add mod">
          <ac:chgData name="CACERES SANDOVAL, EVA MARIA" userId="efa43ab3-f30d-49e0-8bcf-cbcf637d4549" providerId="ADAL" clId="{AC524F4A-C208-4D5E-910C-7C486E8EA4B5}" dt="2025-01-20T16:45:30.244" v="2146" actId="14100"/>
          <ac:spMkLst>
            <pc:docMk/>
            <pc:sldMk cId="4060697977" sldId="933"/>
            <ac:spMk id="18" creationId="{7796FD48-6946-88B3-5C35-B10F51115600}"/>
          </ac:spMkLst>
        </pc:spChg>
        <pc:picChg chg="add del mod">
          <ac:chgData name="CACERES SANDOVAL, EVA MARIA" userId="efa43ab3-f30d-49e0-8bcf-cbcf637d4549" providerId="ADAL" clId="{AC524F4A-C208-4D5E-910C-7C486E8EA4B5}" dt="2025-01-20T16:23:08.196" v="757" actId="478"/>
          <ac:picMkLst>
            <pc:docMk/>
            <pc:sldMk cId="4060697977" sldId="933"/>
            <ac:picMk id="6" creationId="{3D850058-89C7-15A4-D6BA-4AD933EE49DE}"/>
          </ac:picMkLst>
        </pc:picChg>
        <pc:cxnChg chg="add del mod">
          <ac:chgData name="CACERES SANDOVAL, EVA MARIA" userId="efa43ab3-f30d-49e0-8bcf-cbcf637d4549" providerId="ADAL" clId="{AC524F4A-C208-4D5E-910C-7C486E8EA4B5}" dt="2025-01-20T16:34:37.947" v="1557" actId="478"/>
          <ac:cxnSpMkLst>
            <pc:docMk/>
            <pc:sldMk cId="4060697977" sldId="933"/>
            <ac:cxnSpMk id="12" creationId="{A5695370-85D2-184C-32D6-78E1CFCC0EF1}"/>
          </ac:cxnSpMkLst>
        </pc:cxnChg>
        <pc:cxnChg chg="add mod">
          <ac:chgData name="CACERES SANDOVAL, EVA MARIA" userId="efa43ab3-f30d-49e0-8bcf-cbcf637d4549" providerId="ADAL" clId="{AC524F4A-C208-4D5E-910C-7C486E8EA4B5}" dt="2025-01-20T16:34:48.341" v="1561" actId="13822"/>
          <ac:cxnSpMkLst>
            <pc:docMk/>
            <pc:sldMk cId="4060697977" sldId="933"/>
            <ac:cxnSpMk id="14" creationId="{C907FA04-5C4B-BBC9-8DEA-A043B7E7C5FB}"/>
          </ac:cxnSpMkLst>
        </pc:cxnChg>
      </pc:sldChg>
      <pc:sldChg chg="addSp modSp mod">
        <pc:chgData name="CACERES SANDOVAL, EVA MARIA" userId="efa43ab3-f30d-49e0-8bcf-cbcf637d4549" providerId="ADAL" clId="{AC524F4A-C208-4D5E-910C-7C486E8EA4B5}" dt="2025-01-20T18:39:31.852" v="3502" actId="20577"/>
        <pc:sldMkLst>
          <pc:docMk/>
          <pc:sldMk cId="1416081266" sldId="934"/>
        </pc:sldMkLst>
        <pc:spChg chg="mod">
          <ac:chgData name="CACERES SANDOVAL, EVA MARIA" userId="efa43ab3-f30d-49e0-8bcf-cbcf637d4549" providerId="ADAL" clId="{AC524F4A-C208-4D5E-910C-7C486E8EA4B5}" dt="2025-01-20T18:39:01.903" v="3472" actId="20577"/>
          <ac:spMkLst>
            <pc:docMk/>
            <pc:sldMk cId="1416081266" sldId="934"/>
            <ac:spMk id="2" creationId="{D911260F-ED60-62A5-2257-68DDA3BCA723}"/>
          </ac:spMkLst>
        </pc:spChg>
        <pc:spChg chg="add mod">
          <ac:chgData name="CACERES SANDOVAL, EVA MARIA" userId="efa43ab3-f30d-49e0-8bcf-cbcf637d4549" providerId="ADAL" clId="{AC524F4A-C208-4D5E-910C-7C486E8EA4B5}" dt="2025-01-20T16:45:43.748" v="2151" actId="1036"/>
          <ac:spMkLst>
            <pc:docMk/>
            <pc:sldMk cId="1416081266" sldId="934"/>
            <ac:spMk id="3" creationId="{A792F9BE-D705-ECED-7C53-80A8BCE92E5C}"/>
          </ac:spMkLst>
        </pc:spChg>
        <pc:spChg chg="mod">
          <ac:chgData name="CACERES SANDOVAL, EVA MARIA" userId="efa43ab3-f30d-49e0-8bcf-cbcf637d4549" providerId="ADAL" clId="{AC524F4A-C208-4D5E-910C-7C486E8EA4B5}" dt="2025-01-20T18:39:31.852" v="3502" actId="20577"/>
          <ac:spMkLst>
            <pc:docMk/>
            <pc:sldMk cId="1416081266" sldId="934"/>
            <ac:spMk id="9" creationId="{7BDD199F-AECD-71A1-BE42-943932485A79}"/>
          </ac:spMkLst>
        </pc:spChg>
      </pc:sldChg>
      <pc:sldChg chg="addSp delSp modSp mod">
        <pc:chgData name="CACERES SANDOVAL, EVA MARIA" userId="efa43ab3-f30d-49e0-8bcf-cbcf637d4549" providerId="ADAL" clId="{AC524F4A-C208-4D5E-910C-7C486E8EA4B5}" dt="2025-01-20T17:33:24.525" v="2898" actId="478"/>
        <pc:sldMkLst>
          <pc:docMk/>
          <pc:sldMk cId="1215131089" sldId="936"/>
        </pc:sldMkLst>
        <pc:spChg chg="add mod">
          <ac:chgData name="CACERES SANDOVAL, EVA MARIA" userId="efa43ab3-f30d-49e0-8bcf-cbcf637d4549" providerId="ADAL" clId="{AC524F4A-C208-4D5E-910C-7C486E8EA4B5}" dt="2025-01-20T16:45:49.420" v="2153" actId="1076"/>
          <ac:spMkLst>
            <pc:docMk/>
            <pc:sldMk cId="1215131089" sldId="936"/>
            <ac:spMk id="2" creationId="{93AC81E5-066E-146F-3A2F-C039614F940D}"/>
          </ac:spMkLst>
        </pc:spChg>
        <pc:spChg chg="del">
          <ac:chgData name="CACERES SANDOVAL, EVA MARIA" userId="efa43ab3-f30d-49e0-8bcf-cbcf637d4549" providerId="ADAL" clId="{AC524F4A-C208-4D5E-910C-7C486E8EA4B5}" dt="2025-01-20T17:33:24.525" v="2898" actId="478"/>
          <ac:spMkLst>
            <pc:docMk/>
            <pc:sldMk cId="1215131089" sldId="936"/>
            <ac:spMk id="4" creationId="{90DD10C6-74EA-3967-3CEA-E9412D859CF2}"/>
          </ac:spMkLst>
        </pc:spChg>
        <pc:spChg chg="mod">
          <ac:chgData name="CACERES SANDOVAL, EVA MARIA" userId="efa43ab3-f30d-49e0-8bcf-cbcf637d4549" providerId="ADAL" clId="{AC524F4A-C208-4D5E-910C-7C486E8EA4B5}" dt="2025-01-20T16:36:32.850" v="1681" actId="313"/>
          <ac:spMkLst>
            <pc:docMk/>
            <pc:sldMk cId="1215131089" sldId="936"/>
            <ac:spMk id="9" creationId="{DA5F819D-89B6-B121-879F-E688F5CD9E25}"/>
          </ac:spMkLst>
        </pc:spChg>
        <pc:spChg chg="mod">
          <ac:chgData name="CACERES SANDOVAL, EVA MARIA" userId="efa43ab3-f30d-49e0-8bcf-cbcf637d4549" providerId="ADAL" clId="{AC524F4A-C208-4D5E-910C-7C486E8EA4B5}" dt="2025-01-20T16:36:39.398" v="1682" actId="20577"/>
          <ac:spMkLst>
            <pc:docMk/>
            <pc:sldMk cId="1215131089" sldId="936"/>
            <ac:spMk id="10" creationId="{D715F8AF-90E4-5089-CCA1-38D35B4F5D81}"/>
          </ac:spMkLst>
        </pc:spChg>
        <pc:spChg chg="mod">
          <ac:chgData name="CACERES SANDOVAL, EVA MARIA" userId="efa43ab3-f30d-49e0-8bcf-cbcf637d4549" providerId="ADAL" clId="{AC524F4A-C208-4D5E-910C-7C486E8EA4B5}" dt="2025-01-20T16:35:59.345" v="1566" actId="1076"/>
          <ac:spMkLst>
            <pc:docMk/>
            <pc:sldMk cId="1215131089" sldId="936"/>
            <ac:spMk id="12" creationId="{FD3CEE6C-D14B-FA0F-A141-AE6259F4809D}"/>
          </ac:spMkLst>
        </pc:spChg>
      </pc:sldChg>
      <pc:sldChg chg="addSp delSp modSp mod">
        <pc:chgData name="CACERES SANDOVAL, EVA MARIA" userId="efa43ab3-f30d-49e0-8bcf-cbcf637d4549" providerId="ADAL" clId="{AC524F4A-C208-4D5E-910C-7C486E8EA4B5}" dt="2025-01-20T18:26:38.754" v="2975" actId="1076"/>
        <pc:sldMkLst>
          <pc:docMk/>
          <pc:sldMk cId="4091519663" sldId="8132"/>
        </pc:sldMkLst>
        <pc:spChg chg="del">
          <ac:chgData name="CACERES SANDOVAL, EVA MARIA" userId="efa43ab3-f30d-49e0-8bcf-cbcf637d4549" providerId="ADAL" clId="{AC524F4A-C208-4D5E-910C-7C486E8EA4B5}" dt="2025-01-20T17:33:37.657" v="2900" actId="478"/>
          <ac:spMkLst>
            <pc:docMk/>
            <pc:sldMk cId="4091519663" sldId="8132"/>
            <ac:spMk id="4" creationId="{D2607E6F-AD79-46D1-B5A9-6387F3F7DA96}"/>
          </ac:spMkLst>
        </pc:spChg>
        <pc:picChg chg="add del mod">
          <ac:chgData name="CACERES SANDOVAL, EVA MARIA" userId="efa43ab3-f30d-49e0-8bcf-cbcf637d4549" providerId="ADAL" clId="{AC524F4A-C208-4D5E-910C-7C486E8EA4B5}" dt="2025-01-20T18:26:03.022" v="2969" actId="478"/>
          <ac:picMkLst>
            <pc:docMk/>
            <pc:sldMk cId="4091519663" sldId="8132"/>
            <ac:picMk id="2" creationId="{295C2785-A17A-76B8-2EDD-39E17015C751}"/>
          </ac:picMkLst>
        </pc:picChg>
        <pc:picChg chg="add mod">
          <ac:chgData name="CACERES SANDOVAL, EVA MARIA" userId="efa43ab3-f30d-49e0-8bcf-cbcf637d4549" providerId="ADAL" clId="{AC524F4A-C208-4D5E-910C-7C486E8EA4B5}" dt="2025-01-20T18:26:38.754" v="2975" actId="1076"/>
          <ac:picMkLst>
            <pc:docMk/>
            <pc:sldMk cId="4091519663" sldId="8132"/>
            <ac:picMk id="3" creationId="{42D3F4AE-BA85-6742-50F5-78F4CBDCE790}"/>
          </ac:picMkLst>
        </pc:picChg>
      </pc:sldChg>
      <pc:sldChg chg="addSp modSp mod">
        <pc:chgData name="CACERES SANDOVAL, EVA MARIA" userId="efa43ab3-f30d-49e0-8bcf-cbcf637d4549" providerId="ADAL" clId="{AC524F4A-C208-4D5E-910C-7C486E8EA4B5}" dt="2025-01-20T16:29:46.985" v="1399"/>
        <pc:sldMkLst>
          <pc:docMk/>
          <pc:sldMk cId="1872708884" sldId="8141"/>
        </pc:sldMkLst>
        <pc:spChg chg="mod ord">
          <ac:chgData name="CACERES SANDOVAL, EVA MARIA" userId="efa43ab3-f30d-49e0-8bcf-cbcf637d4549" providerId="ADAL" clId="{AC524F4A-C208-4D5E-910C-7C486E8EA4B5}" dt="2025-01-20T16:29:46.985" v="1399"/>
          <ac:spMkLst>
            <pc:docMk/>
            <pc:sldMk cId="1872708884" sldId="8141"/>
            <ac:spMk id="3" creationId="{DDC1E40E-29AE-B484-AD90-81E70EF536C7}"/>
          </ac:spMkLst>
        </pc:spChg>
        <pc:spChg chg="mod">
          <ac:chgData name="CACERES SANDOVAL, EVA MARIA" userId="efa43ab3-f30d-49e0-8bcf-cbcf637d4549" providerId="ADAL" clId="{AC524F4A-C208-4D5E-910C-7C486E8EA4B5}" dt="2025-01-20T16:28:52.830" v="1333" actId="1036"/>
          <ac:spMkLst>
            <pc:docMk/>
            <pc:sldMk cId="1872708884" sldId="8141"/>
            <ac:spMk id="5" creationId="{75129168-3700-2A16-D025-65CD1FCFF45A}"/>
          </ac:spMkLst>
        </pc:spChg>
        <pc:spChg chg="mod">
          <ac:chgData name="CACERES SANDOVAL, EVA MARIA" userId="efa43ab3-f30d-49e0-8bcf-cbcf637d4549" providerId="ADAL" clId="{AC524F4A-C208-4D5E-910C-7C486E8EA4B5}" dt="2025-01-20T16:28:42.280" v="1329" actId="20577"/>
          <ac:spMkLst>
            <pc:docMk/>
            <pc:sldMk cId="1872708884" sldId="8141"/>
            <ac:spMk id="7" creationId="{EB20A15D-1831-28E0-AFDA-CC489A3549DA}"/>
          </ac:spMkLst>
        </pc:spChg>
        <pc:spChg chg="mod">
          <ac:chgData name="CACERES SANDOVAL, EVA MARIA" userId="efa43ab3-f30d-49e0-8bcf-cbcf637d4549" providerId="ADAL" clId="{AC524F4A-C208-4D5E-910C-7C486E8EA4B5}" dt="2025-01-20T16:20:39.383" v="730" actId="1076"/>
          <ac:spMkLst>
            <pc:docMk/>
            <pc:sldMk cId="1872708884" sldId="8141"/>
            <ac:spMk id="12" creationId="{6AF86990-D704-F68C-EE2F-A57F9614F2EB}"/>
          </ac:spMkLst>
        </pc:spChg>
        <pc:spChg chg="add mod">
          <ac:chgData name="CACERES SANDOVAL, EVA MARIA" userId="efa43ab3-f30d-49e0-8bcf-cbcf637d4549" providerId="ADAL" clId="{AC524F4A-C208-4D5E-910C-7C486E8EA4B5}" dt="2025-01-20T16:29:24.438" v="1390" actId="1076"/>
          <ac:spMkLst>
            <pc:docMk/>
            <pc:sldMk cId="1872708884" sldId="8141"/>
            <ac:spMk id="19" creationId="{FCEE385D-E595-8CAB-026D-489C5792E15F}"/>
          </ac:spMkLst>
        </pc:spChg>
        <pc:grpChg chg="mod">
          <ac:chgData name="CACERES SANDOVAL, EVA MARIA" userId="efa43ab3-f30d-49e0-8bcf-cbcf637d4549" providerId="ADAL" clId="{AC524F4A-C208-4D5E-910C-7C486E8EA4B5}" dt="2025-01-20T16:20:39.383" v="730" actId="1076"/>
          <ac:grpSpMkLst>
            <pc:docMk/>
            <pc:sldMk cId="1872708884" sldId="8141"/>
            <ac:grpSpMk id="6" creationId="{F04550BE-C41C-29C9-C7D5-77142109DD53}"/>
          </ac:grpSpMkLst>
        </pc:grpChg>
        <pc:grpChg chg="mod">
          <ac:chgData name="CACERES SANDOVAL, EVA MARIA" userId="efa43ab3-f30d-49e0-8bcf-cbcf637d4549" providerId="ADAL" clId="{AC524F4A-C208-4D5E-910C-7C486E8EA4B5}" dt="2025-01-20T16:20:39.383" v="730" actId="1076"/>
          <ac:grpSpMkLst>
            <pc:docMk/>
            <pc:sldMk cId="1872708884" sldId="8141"/>
            <ac:grpSpMk id="10" creationId="{C24414E1-5708-BC1B-1A0C-9A8D228BC414}"/>
          </ac:grpSpMkLst>
        </pc:grpChg>
        <pc:grpChg chg="mod">
          <ac:chgData name="CACERES SANDOVAL, EVA MARIA" userId="efa43ab3-f30d-49e0-8bcf-cbcf637d4549" providerId="ADAL" clId="{AC524F4A-C208-4D5E-910C-7C486E8EA4B5}" dt="2025-01-20T16:20:39.383" v="730" actId="1076"/>
          <ac:grpSpMkLst>
            <pc:docMk/>
            <pc:sldMk cId="1872708884" sldId="8141"/>
            <ac:grpSpMk id="13" creationId="{F1466051-E3EF-4C2F-F9D9-89BEDDD2F594}"/>
          </ac:grpSpMkLst>
        </pc:grpChg>
        <pc:grpChg chg="add mod">
          <ac:chgData name="CACERES SANDOVAL, EVA MARIA" userId="efa43ab3-f30d-49e0-8bcf-cbcf637d4549" providerId="ADAL" clId="{AC524F4A-C208-4D5E-910C-7C486E8EA4B5}" dt="2025-01-20T16:20:39.383" v="730" actId="1076"/>
          <ac:grpSpMkLst>
            <pc:docMk/>
            <pc:sldMk cId="1872708884" sldId="8141"/>
            <ac:grpSpMk id="17" creationId="{E3D3E25B-F25E-8B6E-BF06-99C54BAF2E8A}"/>
          </ac:grpSpMkLst>
        </pc:grpChg>
        <pc:grpChg chg="add mod">
          <ac:chgData name="CACERES SANDOVAL, EVA MARIA" userId="efa43ab3-f30d-49e0-8bcf-cbcf637d4549" providerId="ADAL" clId="{AC524F4A-C208-4D5E-910C-7C486E8EA4B5}" dt="2025-01-20T16:20:05.746" v="715" actId="1076"/>
          <ac:grpSpMkLst>
            <pc:docMk/>
            <pc:sldMk cId="1872708884" sldId="8141"/>
            <ac:grpSpMk id="18" creationId="{E613D88F-83F3-CABE-03A4-A1BE8A533B53}"/>
          </ac:grpSpMkLst>
        </pc:grpChg>
        <pc:picChg chg="mod">
          <ac:chgData name="CACERES SANDOVAL, EVA MARIA" userId="efa43ab3-f30d-49e0-8bcf-cbcf637d4549" providerId="ADAL" clId="{AC524F4A-C208-4D5E-910C-7C486E8EA4B5}" dt="2025-01-20T16:20:39.383" v="730" actId="1076"/>
          <ac:picMkLst>
            <pc:docMk/>
            <pc:sldMk cId="1872708884" sldId="8141"/>
            <ac:picMk id="11" creationId="{8079B861-C062-DD81-1979-FA3BEB730B78}"/>
          </ac:picMkLst>
        </pc:picChg>
        <pc:picChg chg="add mod">
          <ac:chgData name="CACERES SANDOVAL, EVA MARIA" userId="efa43ab3-f30d-49e0-8bcf-cbcf637d4549" providerId="ADAL" clId="{AC524F4A-C208-4D5E-910C-7C486E8EA4B5}" dt="2025-01-20T16:20:04.829" v="714" actId="164"/>
          <ac:picMkLst>
            <pc:docMk/>
            <pc:sldMk cId="1872708884" sldId="8141"/>
            <ac:picMk id="14" creationId="{83F01ADC-7E88-C9DA-3EA2-A70FE88DA2D6}"/>
          </ac:picMkLst>
        </pc:picChg>
        <pc:picChg chg="add mod">
          <ac:chgData name="CACERES SANDOVAL, EVA MARIA" userId="efa43ab3-f30d-49e0-8bcf-cbcf637d4549" providerId="ADAL" clId="{AC524F4A-C208-4D5E-910C-7C486E8EA4B5}" dt="2025-01-20T16:20:04.829" v="714" actId="164"/>
          <ac:picMkLst>
            <pc:docMk/>
            <pc:sldMk cId="1872708884" sldId="8141"/>
            <ac:picMk id="16" creationId="{B38B730C-D039-19B4-806E-692812D4A8F4}"/>
          </ac:picMkLst>
        </pc:picChg>
        <pc:picChg chg="mod">
          <ac:chgData name="CACERES SANDOVAL, EVA MARIA" userId="efa43ab3-f30d-49e0-8bcf-cbcf637d4549" providerId="ADAL" clId="{AC524F4A-C208-4D5E-910C-7C486E8EA4B5}" dt="2025-01-20T16:20:39.383" v="730" actId="1076"/>
          <ac:picMkLst>
            <pc:docMk/>
            <pc:sldMk cId="1872708884" sldId="8141"/>
            <ac:picMk id="1028" creationId="{E33DB0A0-5C6A-F08A-F04C-629F8A661877}"/>
          </ac:picMkLst>
        </pc:picChg>
        <pc:cxnChg chg="mod">
          <ac:chgData name="CACERES SANDOVAL, EVA MARIA" userId="efa43ab3-f30d-49e0-8bcf-cbcf637d4549" providerId="ADAL" clId="{AC524F4A-C208-4D5E-910C-7C486E8EA4B5}" dt="2025-01-20T16:20:39.383" v="730" actId="1076"/>
          <ac:cxnSpMkLst>
            <pc:docMk/>
            <pc:sldMk cId="1872708884" sldId="8141"/>
            <ac:cxnSpMk id="8" creationId="{601CF9F4-0D52-57F9-AC9A-9223A64D9F9F}"/>
          </ac:cxnSpMkLst>
        </pc:cxnChg>
      </pc:sldChg>
      <pc:sldChg chg="addSp delSp modSp mod">
        <pc:chgData name="CACERES SANDOVAL, EVA MARIA" userId="efa43ab3-f30d-49e0-8bcf-cbcf637d4549" providerId="ADAL" clId="{AC524F4A-C208-4D5E-910C-7C486E8EA4B5}" dt="2025-01-20T17:33:19.183" v="2897" actId="478"/>
        <pc:sldMkLst>
          <pc:docMk/>
          <pc:sldMk cId="3293214524" sldId="8143"/>
        </pc:sldMkLst>
        <pc:spChg chg="add mod">
          <ac:chgData name="CACERES SANDOVAL, EVA MARIA" userId="efa43ab3-f30d-49e0-8bcf-cbcf637d4549" providerId="ADAL" clId="{AC524F4A-C208-4D5E-910C-7C486E8EA4B5}" dt="2025-01-20T16:46:19.441" v="2157" actId="1582"/>
          <ac:spMkLst>
            <pc:docMk/>
            <pc:sldMk cId="3293214524" sldId="8143"/>
            <ac:spMk id="2" creationId="{F49C8639-48B5-EB05-55E8-8845C139D44F}"/>
          </ac:spMkLst>
        </pc:spChg>
        <pc:spChg chg="add mod">
          <ac:chgData name="CACERES SANDOVAL, EVA MARIA" userId="efa43ab3-f30d-49e0-8bcf-cbcf637d4549" providerId="ADAL" clId="{AC524F4A-C208-4D5E-910C-7C486E8EA4B5}" dt="2025-01-20T16:49:27.002" v="2383" actId="1076"/>
          <ac:spMkLst>
            <pc:docMk/>
            <pc:sldMk cId="3293214524" sldId="8143"/>
            <ac:spMk id="3" creationId="{29D7D2A5-FD6C-2E75-DDBE-30498BB81BDB}"/>
          </ac:spMkLst>
        </pc:spChg>
        <pc:spChg chg="del">
          <ac:chgData name="CACERES SANDOVAL, EVA MARIA" userId="efa43ab3-f30d-49e0-8bcf-cbcf637d4549" providerId="ADAL" clId="{AC524F4A-C208-4D5E-910C-7C486E8EA4B5}" dt="2025-01-20T17:33:19.183" v="2897" actId="478"/>
          <ac:spMkLst>
            <pc:docMk/>
            <pc:sldMk cId="3293214524" sldId="8143"/>
            <ac:spMk id="4" creationId="{90DD10C6-74EA-3967-3CEA-E9412D859CF2}"/>
          </ac:spMkLst>
        </pc:spChg>
        <pc:spChg chg="mod">
          <ac:chgData name="CACERES SANDOVAL, EVA MARIA" userId="efa43ab3-f30d-49e0-8bcf-cbcf637d4549" providerId="ADAL" clId="{AC524F4A-C208-4D5E-910C-7C486E8EA4B5}" dt="2025-01-20T17:06:02.639" v="2693" actId="20577"/>
          <ac:spMkLst>
            <pc:docMk/>
            <pc:sldMk cId="3293214524" sldId="8143"/>
            <ac:spMk id="9" creationId="{DA5F819D-89B6-B121-879F-E688F5CD9E25}"/>
          </ac:spMkLst>
        </pc:spChg>
        <pc:spChg chg="mod">
          <ac:chgData name="CACERES SANDOVAL, EVA MARIA" userId="efa43ab3-f30d-49e0-8bcf-cbcf637d4549" providerId="ADAL" clId="{AC524F4A-C208-4D5E-910C-7C486E8EA4B5}" dt="2025-01-20T16:54:57.618" v="2659" actId="1076"/>
          <ac:spMkLst>
            <pc:docMk/>
            <pc:sldMk cId="3293214524" sldId="8143"/>
            <ac:spMk id="11" creationId="{CD52D7D1-8977-C97A-667E-9295A6BA6233}"/>
          </ac:spMkLst>
        </pc:spChg>
      </pc:sldChg>
      <pc:sldChg chg="delSp modSp add del mod">
        <pc:chgData name="CACERES SANDOVAL, EVA MARIA" userId="efa43ab3-f30d-49e0-8bcf-cbcf637d4549" providerId="ADAL" clId="{AC524F4A-C208-4D5E-910C-7C486E8EA4B5}" dt="2025-01-20T17:33:17.183" v="2896" actId="478"/>
        <pc:sldMkLst>
          <pc:docMk/>
          <pc:sldMk cId="2105858830" sldId="8144"/>
        </pc:sldMkLst>
        <pc:spChg chg="del">
          <ac:chgData name="CACERES SANDOVAL, EVA MARIA" userId="efa43ab3-f30d-49e0-8bcf-cbcf637d4549" providerId="ADAL" clId="{AC524F4A-C208-4D5E-910C-7C486E8EA4B5}" dt="2025-01-20T17:33:17.183" v="2896" actId="478"/>
          <ac:spMkLst>
            <pc:docMk/>
            <pc:sldMk cId="2105858830" sldId="8144"/>
            <ac:spMk id="4" creationId="{90DD10C6-74EA-3967-3CEA-E9412D859CF2}"/>
          </ac:spMkLst>
        </pc:spChg>
        <pc:spChg chg="mod">
          <ac:chgData name="CACERES SANDOVAL, EVA MARIA" userId="efa43ab3-f30d-49e0-8bcf-cbcf637d4549" providerId="ADAL" clId="{AC524F4A-C208-4D5E-910C-7C486E8EA4B5}" dt="2025-01-20T17:23:09.983" v="2697" actId="6549"/>
          <ac:spMkLst>
            <pc:docMk/>
            <pc:sldMk cId="2105858830" sldId="8144"/>
            <ac:spMk id="9" creationId="{DA5F819D-89B6-B121-879F-E688F5CD9E25}"/>
          </ac:spMkLst>
        </pc:spChg>
      </pc:sldChg>
      <pc:sldChg chg="addSp delSp modSp mod">
        <pc:chgData name="CACERES SANDOVAL, EVA MARIA" userId="efa43ab3-f30d-49e0-8bcf-cbcf637d4549" providerId="ADAL" clId="{AC524F4A-C208-4D5E-910C-7C486E8EA4B5}" dt="2025-01-20T18:42:52.708" v="3672" actId="5793"/>
        <pc:sldMkLst>
          <pc:docMk/>
          <pc:sldMk cId="3715989853" sldId="8145"/>
        </pc:sldMkLst>
        <pc:spChg chg="del">
          <ac:chgData name="CACERES SANDOVAL, EVA MARIA" userId="efa43ab3-f30d-49e0-8bcf-cbcf637d4549" providerId="ADAL" clId="{AC524F4A-C208-4D5E-910C-7C486E8EA4B5}" dt="2025-01-20T17:33:14.451" v="2895" actId="478"/>
          <ac:spMkLst>
            <pc:docMk/>
            <pc:sldMk cId="3715989853" sldId="8145"/>
            <ac:spMk id="4" creationId="{90DD10C6-74EA-3967-3CEA-E9412D859CF2}"/>
          </ac:spMkLst>
        </pc:spChg>
        <pc:spChg chg="add mod">
          <ac:chgData name="CACERES SANDOVAL, EVA MARIA" userId="efa43ab3-f30d-49e0-8bcf-cbcf637d4549" providerId="ADAL" clId="{AC524F4A-C208-4D5E-910C-7C486E8EA4B5}" dt="2025-01-20T17:28:48.276" v="2761" actId="1076"/>
          <ac:spMkLst>
            <pc:docMk/>
            <pc:sldMk cId="3715989853" sldId="8145"/>
            <ac:spMk id="6" creationId="{FD391578-593A-879E-76F7-70C8B4B152E0}"/>
          </ac:spMkLst>
        </pc:spChg>
        <pc:spChg chg="mod">
          <ac:chgData name="CACERES SANDOVAL, EVA MARIA" userId="efa43ab3-f30d-49e0-8bcf-cbcf637d4549" providerId="ADAL" clId="{AC524F4A-C208-4D5E-910C-7C486E8EA4B5}" dt="2025-01-20T18:42:52.708" v="3672" actId="5793"/>
          <ac:spMkLst>
            <pc:docMk/>
            <pc:sldMk cId="3715989853" sldId="8145"/>
            <ac:spMk id="9" creationId="{DA5F819D-89B6-B121-879F-E688F5CD9E25}"/>
          </ac:spMkLst>
        </pc:spChg>
        <pc:picChg chg="add mod">
          <ac:chgData name="CACERES SANDOVAL, EVA MARIA" userId="efa43ab3-f30d-49e0-8bcf-cbcf637d4549" providerId="ADAL" clId="{AC524F4A-C208-4D5E-910C-7C486E8EA4B5}" dt="2025-01-20T17:28:02.289" v="2733" actId="1076"/>
          <ac:picMkLst>
            <pc:docMk/>
            <pc:sldMk cId="3715989853" sldId="8145"/>
            <ac:picMk id="5" creationId="{CAB8CDAC-7638-C09E-7C5F-1262763BF310}"/>
          </ac:picMkLst>
        </pc:picChg>
        <pc:picChg chg="del">
          <ac:chgData name="CACERES SANDOVAL, EVA MARIA" userId="efa43ab3-f30d-49e0-8bcf-cbcf637d4549" providerId="ADAL" clId="{AC524F4A-C208-4D5E-910C-7C486E8EA4B5}" dt="2025-01-20T17:22:38.409" v="2694" actId="478"/>
          <ac:picMkLst>
            <pc:docMk/>
            <pc:sldMk cId="3715989853" sldId="8145"/>
            <ac:picMk id="7" creationId="{C26F053B-1DF6-2550-210E-A43B5C1F7DF4}"/>
          </ac:picMkLst>
        </pc:picChg>
      </pc:sldChg>
      <pc:sldChg chg="addSp delSp modSp mod">
        <pc:chgData name="CACERES SANDOVAL, EVA MARIA" userId="efa43ab3-f30d-49e0-8bcf-cbcf637d4549" providerId="ADAL" clId="{AC524F4A-C208-4D5E-910C-7C486E8EA4B5}" dt="2025-01-20T18:42:04.507" v="3510" actId="20577"/>
        <pc:sldMkLst>
          <pc:docMk/>
          <pc:sldMk cId="1445624873" sldId="8146"/>
        </pc:sldMkLst>
        <pc:spChg chg="del">
          <ac:chgData name="CACERES SANDOVAL, EVA MARIA" userId="efa43ab3-f30d-49e0-8bcf-cbcf637d4549" providerId="ADAL" clId="{AC524F4A-C208-4D5E-910C-7C486E8EA4B5}" dt="2025-01-20T17:33:12.615" v="2894" actId="478"/>
          <ac:spMkLst>
            <pc:docMk/>
            <pc:sldMk cId="1445624873" sldId="8146"/>
            <ac:spMk id="4" creationId="{90DD10C6-74EA-3967-3CEA-E9412D859CF2}"/>
          </ac:spMkLst>
        </pc:spChg>
        <pc:spChg chg="mod">
          <ac:chgData name="CACERES SANDOVAL, EVA MARIA" userId="efa43ab3-f30d-49e0-8bcf-cbcf637d4549" providerId="ADAL" clId="{AC524F4A-C208-4D5E-910C-7C486E8EA4B5}" dt="2025-01-20T18:42:04.507" v="3510" actId="20577"/>
          <ac:spMkLst>
            <pc:docMk/>
            <pc:sldMk cId="1445624873" sldId="8146"/>
            <ac:spMk id="9" creationId="{DA5F819D-89B6-B121-879F-E688F5CD9E25}"/>
          </ac:spMkLst>
        </pc:spChg>
        <pc:spChg chg="add mod">
          <ac:chgData name="CACERES SANDOVAL, EVA MARIA" userId="efa43ab3-f30d-49e0-8bcf-cbcf637d4549" providerId="ADAL" clId="{AC524F4A-C208-4D5E-910C-7C486E8EA4B5}" dt="2025-01-20T17:28:33.765" v="2759" actId="207"/>
          <ac:spMkLst>
            <pc:docMk/>
            <pc:sldMk cId="1445624873" sldId="8146"/>
            <ac:spMk id="13" creationId="{6AB83DF5-93D1-CC2C-DB11-713DD3472774}"/>
          </ac:spMkLst>
        </pc:spChg>
        <pc:picChg chg="del">
          <ac:chgData name="CACERES SANDOVAL, EVA MARIA" userId="efa43ab3-f30d-49e0-8bcf-cbcf637d4549" providerId="ADAL" clId="{AC524F4A-C208-4D5E-910C-7C486E8EA4B5}" dt="2025-01-20T17:24:47.273" v="2698" actId="478"/>
          <ac:picMkLst>
            <pc:docMk/>
            <pc:sldMk cId="1445624873" sldId="8146"/>
            <ac:picMk id="5" creationId="{3A165565-499C-9290-23DE-B0DA8D2B4CBF}"/>
          </ac:picMkLst>
        </pc:picChg>
        <pc:picChg chg="add del mod">
          <ac:chgData name="CACERES SANDOVAL, EVA MARIA" userId="efa43ab3-f30d-49e0-8bcf-cbcf637d4549" providerId="ADAL" clId="{AC524F4A-C208-4D5E-910C-7C486E8EA4B5}" dt="2025-01-20T17:25:23.185" v="2707" actId="478"/>
          <ac:picMkLst>
            <pc:docMk/>
            <pc:sldMk cId="1445624873" sldId="8146"/>
            <ac:picMk id="6" creationId="{BD7F700F-A38A-3C1B-E22F-DA591305259D}"/>
          </ac:picMkLst>
        </pc:picChg>
        <pc:picChg chg="add del mod">
          <ac:chgData name="CACERES SANDOVAL, EVA MARIA" userId="efa43ab3-f30d-49e0-8bcf-cbcf637d4549" providerId="ADAL" clId="{AC524F4A-C208-4D5E-910C-7C486E8EA4B5}" dt="2025-01-20T17:27:14.844" v="2720" actId="478"/>
          <ac:picMkLst>
            <pc:docMk/>
            <pc:sldMk cId="1445624873" sldId="8146"/>
            <ac:picMk id="8" creationId="{EA9CA2D9-D6A7-DB69-BEFE-E0BA1A7B8736}"/>
          </ac:picMkLst>
        </pc:picChg>
        <pc:picChg chg="add mod">
          <ac:chgData name="CACERES SANDOVAL, EVA MARIA" userId="efa43ab3-f30d-49e0-8bcf-cbcf637d4549" providerId="ADAL" clId="{AC524F4A-C208-4D5E-910C-7C486E8EA4B5}" dt="2025-01-20T17:28:09.277" v="2734" actId="1076"/>
          <ac:picMkLst>
            <pc:docMk/>
            <pc:sldMk cId="1445624873" sldId="8146"/>
            <ac:picMk id="12" creationId="{61801C27-F702-C6B0-3493-9C030D1EFC6D}"/>
          </ac:picMkLst>
        </pc:picChg>
      </pc:sldChg>
      <pc:sldChg chg="addSp delSp modSp mod">
        <pc:chgData name="CACERES SANDOVAL, EVA MARIA" userId="efa43ab3-f30d-49e0-8bcf-cbcf637d4549" providerId="ADAL" clId="{AC524F4A-C208-4D5E-910C-7C486E8EA4B5}" dt="2025-01-20T18:43:09.729" v="3691" actId="20577"/>
        <pc:sldMkLst>
          <pc:docMk/>
          <pc:sldMk cId="2472265382" sldId="8147"/>
        </pc:sldMkLst>
        <pc:spChg chg="add mod">
          <ac:chgData name="CACERES SANDOVAL, EVA MARIA" userId="efa43ab3-f30d-49e0-8bcf-cbcf637d4549" providerId="ADAL" clId="{AC524F4A-C208-4D5E-910C-7C486E8EA4B5}" dt="2025-01-20T17:29:25.515" v="2769" actId="1076"/>
          <ac:spMkLst>
            <pc:docMk/>
            <pc:sldMk cId="2472265382" sldId="8147"/>
            <ac:spMk id="2" creationId="{A4736682-24D5-0F30-4687-6EB36F002A84}"/>
          </ac:spMkLst>
        </pc:spChg>
        <pc:spChg chg="del">
          <ac:chgData name="CACERES SANDOVAL, EVA MARIA" userId="efa43ab3-f30d-49e0-8bcf-cbcf637d4549" providerId="ADAL" clId="{AC524F4A-C208-4D5E-910C-7C486E8EA4B5}" dt="2025-01-20T17:33:10.270" v="2893" actId="478"/>
          <ac:spMkLst>
            <pc:docMk/>
            <pc:sldMk cId="2472265382" sldId="8147"/>
            <ac:spMk id="4" creationId="{90DD10C6-74EA-3967-3CEA-E9412D859CF2}"/>
          </ac:spMkLst>
        </pc:spChg>
        <pc:spChg chg="mod">
          <ac:chgData name="CACERES SANDOVAL, EVA MARIA" userId="efa43ab3-f30d-49e0-8bcf-cbcf637d4549" providerId="ADAL" clId="{AC524F4A-C208-4D5E-910C-7C486E8EA4B5}" dt="2025-01-20T18:43:09.729" v="3691" actId="20577"/>
          <ac:spMkLst>
            <pc:docMk/>
            <pc:sldMk cId="2472265382" sldId="8147"/>
            <ac:spMk id="9" creationId="{DA5F819D-89B6-B121-879F-E688F5CD9E25}"/>
          </ac:spMkLst>
        </pc:spChg>
        <pc:picChg chg="add mod">
          <ac:chgData name="CACERES SANDOVAL, EVA MARIA" userId="efa43ab3-f30d-49e0-8bcf-cbcf637d4549" providerId="ADAL" clId="{AC524F4A-C208-4D5E-910C-7C486E8EA4B5}" dt="2025-01-20T17:29:29.440" v="2771" actId="1582"/>
          <ac:picMkLst>
            <pc:docMk/>
            <pc:sldMk cId="2472265382" sldId="8147"/>
            <ac:picMk id="6" creationId="{DDCC2F01-DFF3-C85E-1CF5-F768CE2A1D81}"/>
          </ac:picMkLst>
        </pc:picChg>
        <pc:picChg chg="del">
          <ac:chgData name="CACERES SANDOVAL, EVA MARIA" userId="efa43ab3-f30d-49e0-8bcf-cbcf637d4549" providerId="ADAL" clId="{AC524F4A-C208-4D5E-910C-7C486E8EA4B5}" dt="2025-01-20T17:29:01.689" v="2764" actId="478"/>
          <ac:picMkLst>
            <pc:docMk/>
            <pc:sldMk cId="2472265382" sldId="8147"/>
            <ac:picMk id="6146" creationId="{0C2492B8-EC1F-2A45-99FE-3F10356FCC63}"/>
          </ac:picMkLst>
        </pc:picChg>
      </pc:sldChg>
      <pc:sldChg chg="delSp mod">
        <pc:chgData name="CACERES SANDOVAL, EVA MARIA" userId="efa43ab3-f30d-49e0-8bcf-cbcf637d4549" providerId="ADAL" clId="{AC524F4A-C208-4D5E-910C-7C486E8EA4B5}" dt="2025-01-20T17:32:55.958" v="2889" actId="478"/>
        <pc:sldMkLst>
          <pc:docMk/>
          <pc:sldMk cId="3134077478" sldId="8148"/>
        </pc:sldMkLst>
        <pc:spChg chg="del">
          <ac:chgData name="CACERES SANDOVAL, EVA MARIA" userId="efa43ab3-f30d-49e0-8bcf-cbcf637d4549" providerId="ADAL" clId="{AC524F4A-C208-4D5E-910C-7C486E8EA4B5}" dt="2025-01-20T17:32:55.958" v="2889" actId="478"/>
          <ac:spMkLst>
            <pc:docMk/>
            <pc:sldMk cId="3134077478" sldId="8148"/>
            <ac:spMk id="4" creationId="{90DD10C6-74EA-3967-3CEA-E9412D859CF2}"/>
          </ac:spMkLst>
        </pc:spChg>
      </pc:sldChg>
      <pc:sldChg chg="delSp mod">
        <pc:chgData name="CACERES SANDOVAL, EVA MARIA" userId="efa43ab3-f30d-49e0-8bcf-cbcf637d4549" providerId="ADAL" clId="{AC524F4A-C208-4D5E-910C-7C486E8EA4B5}" dt="2025-01-20T17:33:02.994" v="2891" actId="478"/>
        <pc:sldMkLst>
          <pc:docMk/>
          <pc:sldMk cId="2171042192" sldId="8149"/>
        </pc:sldMkLst>
        <pc:spChg chg="del">
          <ac:chgData name="CACERES SANDOVAL, EVA MARIA" userId="efa43ab3-f30d-49e0-8bcf-cbcf637d4549" providerId="ADAL" clId="{AC524F4A-C208-4D5E-910C-7C486E8EA4B5}" dt="2025-01-20T17:33:02.994" v="2891" actId="478"/>
          <ac:spMkLst>
            <pc:docMk/>
            <pc:sldMk cId="2171042192" sldId="8149"/>
            <ac:spMk id="4" creationId="{90DD10C6-74EA-3967-3CEA-E9412D859CF2}"/>
          </ac:spMkLst>
        </pc:spChg>
      </pc:sldChg>
      <pc:sldChg chg="delSp mod">
        <pc:chgData name="CACERES SANDOVAL, EVA MARIA" userId="efa43ab3-f30d-49e0-8bcf-cbcf637d4549" providerId="ADAL" clId="{AC524F4A-C208-4D5E-910C-7C486E8EA4B5}" dt="2025-01-20T17:33:00.601" v="2890" actId="478"/>
        <pc:sldMkLst>
          <pc:docMk/>
          <pc:sldMk cId="4054008323" sldId="8150"/>
        </pc:sldMkLst>
        <pc:spChg chg="del">
          <ac:chgData name="CACERES SANDOVAL, EVA MARIA" userId="efa43ab3-f30d-49e0-8bcf-cbcf637d4549" providerId="ADAL" clId="{AC524F4A-C208-4D5E-910C-7C486E8EA4B5}" dt="2025-01-20T17:33:00.601" v="2890" actId="478"/>
          <ac:spMkLst>
            <pc:docMk/>
            <pc:sldMk cId="4054008323" sldId="8150"/>
            <ac:spMk id="4" creationId="{90DD10C6-74EA-3967-3CEA-E9412D859CF2}"/>
          </ac:spMkLst>
        </pc:spChg>
      </pc:sldChg>
      <pc:sldChg chg="addSp delSp modSp mod">
        <pc:chgData name="CACERES SANDOVAL, EVA MARIA" userId="efa43ab3-f30d-49e0-8bcf-cbcf637d4549" providerId="ADAL" clId="{AC524F4A-C208-4D5E-910C-7C486E8EA4B5}" dt="2025-01-20T18:43:30.438" v="3718" actId="20577"/>
        <pc:sldMkLst>
          <pc:docMk/>
          <pc:sldMk cId="550098848" sldId="8152"/>
        </pc:sldMkLst>
        <pc:spChg chg="mod">
          <ac:chgData name="CACERES SANDOVAL, EVA MARIA" userId="efa43ab3-f30d-49e0-8bcf-cbcf637d4549" providerId="ADAL" clId="{AC524F4A-C208-4D5E-910C-7C486E8EA4B5}" dt="2025-01-20T17:31:22.816" v="2879" actId="1076"/>
          <ac:spMkLst>
            <pc:docMk/>
            <pc:sldMk cId="550098848" sldId="8152"/>
            <ac:spMk id="3" creationId="{995B6DA9-D9C6-F723-B2E8-A243CDB78B28}"/>
          </ac:spMkLst>
        </pc:spChg>
        <pc:spChg chg="del">
          <ac:chgData name="CACERES SANDOVAL, EVA MARIA" userId="efa43ab3-f30d-49e0-8bcf-cbcf637d4549" providerId="ADAL" clId="{AC524F4A-C208-4D5E-910C-7C486E8EA4B5}" dt="2025-01-20T17:32:50.256" v="2888" actId="478"/>
          <ac:spMkLst>
            <pc:docMk/>
            <pc:sldMk cId="550098848" sldId="8152"/>
            <ac:spMk id="4" creationId="{90DD10C6-74EA-3967-3CEA-E9412D859CF2}"/>
          </ac:spMkLst>
        </pc:spChg>
        <pc:spChg chg="mod">
          <ac:chgData name="CACERES SANDOVAL, EVA MARIA" userId="efa43ab3-f30d-49e0-8bcf-cbcf637d4549" providerId="ADAL" clId="{AC524F4A-C208-4D5E-910C-7C486E8EA4B5}" dt="2025-01-20T18:43:30.438" v="3718" actId="20577"/>
          <ac:spMkLst>
            <pc:docMk/>
            <pc:sldMk cId="550098848" sldId="8152"/>
            <ac:spMk id="9" creationId="{DA5F819D-89B6-B121-879F-E688F5CD9E25}"/>
          </ac:spMkLst>
        </pc:spChg>
        <pc:grpChg chg="mod">
          <ac:chgData name="CACERES SANDOVAL, EVA MARIA" userId="efa43ab3-f30d-49e0-8bcf-cbcf637d4549" providerId="ADAL" clId="{AC524F4A-C208-4D5E-910C-7C486E8EA4B5}" dt="2025-01-20T17:31:22.816" v="2879" actId="1076"/>
          <ac:grpSpMkLst>
            <pc:docMk/>
            <pc:sldMk cId="550098848" sldId="8152"/>
            <ac:grpSpMk id="13" creationId="{CD317E9B-CD27-2B49-5162-012E6C8B49F7}"/>
          </ac:grpSpMkLst>
        </pc:grpChg>
        <pc:picChg chg="add mod">
          <ac:chgData name="CACERES SANDOVAL, EVA MARIA" userId="efa43ab3-f30d-49e0-8bcf-cbcf637d4549" providerId="ADAL" clId="{AC524F4A-C208-4D5E-910C-7C486E8EA4B5}" dt="2025-01-20T17:32:45.902" v="2887" actId="1582"/>
          <ac:picMkLst>
            <pc:docMk/>
            <pc:sldMk cId="550098848" sldId="8152"/>
            <ac:picMk id="5" creationId="{661D71DB-2C99-4C8F-5BE7-0F1264F994AA}"/>
          </ac:picMkLst>
        </pc:picChg>
        <pc:picChg chg="mod">
          <ac:chgData name="CACERES SANDOVAL, EVA MARIA" userId="efa43ab3-f30d-49e0-8bcf-cbcf637d4549" providerId="ADAL" clId="{AC524F4A-C208-4D5E-910C-7C486E8EA4B5}" dt="2025-01-20T17:31:22.816" v="2879" actId="1076"/>
          <ac:picMkLst>
            <pc:docMk/>
            <pc:sldMk cId="550098848" sldId="8152"/>
            <ac:picMk id="1026" creationId="{600F055E-B3C1-A135-E9CF-ED727BCB9CE0}"/>
          </ac:picMkLst>
        </pc:picChg>
        <pc:cxnChg chg="mod">
          <ac:chgData name="CACERES SANDOVAL, EVA MARIA" userId="efa43ab3-f30d-49e0-8bcf-cbcf637d4549" providerId="ADAL" clId="{AC524F4A-C208-4D5E-910C-7C486E8EA4B5}" dt="2025-01-20T17:31:22.816" v="2879" actId="1076"/>
          <ac:cxnSpMkLst>
            <pc:docMk/>
            <pc:sldMk cId="550098848" sldId="8152"/>
            <ac:cxnSpMk id="7" creationId="{F8D7CA49-17F1-85EF-018F-054E12F5914B}"/>
          </ac:cxnSpMkLst>
        </pc:cxnChg>
      </pc:sldChg>
      <pc:sldChg chg="delSp mod">
        <pc:chgData name="CACERES SANDOVAL, EVA MARIA" userId="efa43ab3-f30d-49e0-8bcf-cbcf637d4549" providerId="ADAL" clId="{AC524F4A-C208-4D5E-910C-7C486E8EA4B5}" dt="2025-01-20T17:33:05.472" v="2892" actId="478"/>
        <pc:sldMkLst>
          <pc:docMk/>
          <pc:sldMk cId="4268641344" sldId="8153"/>
        </pc:sldMkLst>
        <pc:spChg chg="del">
          <ac:chgData name="CACERES SANDOVAL, EVA MARIA" userId="efa43ab3-f30d-49e0-8bcf-cbcf637d4549" providerId="ADAL" clId="{AC524F4A-C208-4D5E-910C-7C486E8EA4B5}" dt="2025-01-20T17:33:05.472" v="2892" actId="478"/>
          <ac:spMkLst>
            <pc:docMk/>
            <pc:sldMk cId="4268641344" sldId="8153"/>
            <ac:spMk id="4" creationId="{90DD10C6-74EA-3967-3CEA-E9412D859CF2}"/>
          </ac:spMkLst>
        </pc:spChg>
      </pc:sldChg>
      <pc:sldChg chg="new del">
        <pc:chgData name="CACERES SANDOVAL, EVA MARIA" userId="efa43ab3-f30d-49e0-8bcf-cbcf637d4549" providerId="ADAL" clId="{AC524F4A-C208-4D5E-910C-7C486E8EA4B5}" dt="2025-01-20T13:19:06.393" v="143" actId="47"/>
        <pc:sldMkLst>
          <pc:docMk/>
          <pc:sldMk cId="2699017360" sldId="8154"/>
        </pc:sldMkLst>
      </pc:sldChg>
      <pc:sldChg chg="addSp modSp new mod">
        <pc:chgData name="CACERES SANDOVAL, EVA MARIA" userId="efa43ab3-f30d-49e0-8bcf-cbcf637d4549" providerId="ADAL" clId="{AC524F4A-C208-4D5E-910C-7C486E8EA4B5}" dt="2025-01-20T18:31:27.001" v="3233" actId="208"/>
        <pc:sldMkLst>
          <pc:docMk/>
          <pc:sldMk cId="2775744722" sldId="8154"/>
        </pc:sldMkLst>
        <pc:spChg chg="mod">
          <ac:chgData name="CACERES SANDOVAL, EVA MARIA" userId="efa43ab3-f30d-49e0-8bcf-cbcf637d4549" providerId="ADAL" clId="{AC524F4A-C208-4D5E-910C-7C486E8EA4B5}" dt="2025-01-20T18:29:21.607" v="3225" actId="207"/>
          <ac:spMkLst>
            <pc:docMk/>
            <pc:sldMk cId="2775744722" sldId="8154"/>
            <ac:spMk id="2" creationId="{6EC1BF81-13E5-A3B7-DDB3-A7DEFBF6F67A}"/>
          </ac:spMkLst>
        </pc:spChg>
        <pc:spChg chg="mod">
          <ac:chgData name="CACERES SANDOVAL, EVA MARIA" userId="efa43ab3-f30d-49e0-8bcf-cbcf637d4549" providerId="ADAL" clId="{AC524F4A-C208-4D5E-910C-7C486E8EA4B5}" dt="2025-01-20T18:29:35.115" v="3228" actId="6549"/>
          <ac:spMkLst>
            <pc:docMk/>
            <pc:sldMk cId="2775744722" sldId="8154"/>
            <ac:spMk id="3" creationId="{1018DFF4-65D1-B828-8105-E7F110F91742}"/>
          </ac:spMkLst>
        </pc:spChg>
        <pc:spChg chg="add mod">
          <ac:chgData name="CACERES SANDOVAL, EVA MARIA" userId="efa43ab3-f30d-49e0-8bcf-cbcf637d4549" providerId="ADAL" clId="{AC524F4A-C208-4D5E-910C-7C486E8EA4B5}" dt="2025-01-20T18:28:50.320" v="3200" actId="20577"/>
          <ac:spMkLst>
            <pc:docMk/>
            <pc:sldMk cId="2775744722" sldId="8154"/>
            <ac:spMk id="4" creationId="{CFAC5E42-767D-EFD0-DDAB-A8853102B791}"/>
          </ac:spMkLst>
        </pc:spChg>
        <pc:picChg chg="add mod">
          <ac:chgData name="CACERES SANDOVAL, EVA MARIA" userId="efa43ab3-f30d-49e0-8bcf-cbcf637d4549" providerId="ADAL" clId="{AC524F4A-C208-4D5E-910C-7C486E8EA4B5}" dt="2025-01-20T18:31:27.001" v="3233" actId="208"/>
          <ac:picMkLst>
            <pc:docMk/>
            <pc:sldMk cId="2775744722" sldId="8154"/>
            <ac:picMk id="6" creationId="{AEFFD62D-3AC5-9829-0CC1-5BF9091BF9FC}"/>
          </ac:picMkLst>
        </pc:picChg>
      </pc:sldChg>
    </pc:docChg>
  </pc:docChgLst>
  <pc:docChgLst>
    <pc:chgData name="CACERES SANDOVAL, EVA MARIA" userId="efa43ab3-f30d-49e0-8bcf-cbcf637d4549" providerId="ADAL" clId="{C6DC3022-C868-473E-8607-1E4341DC0F28}"/>
    <pc:docChg chg="undo custSel addSld delSld modSld sldOrd">
      <pc:chgData name="CACERES SANDOVAL, EVA MARIA" userId="efa43ab3-f30d-49e0-8bcf-cbcf637d4549" providerId="ADAL" clId="{C6DC3022-C868-473E-8607-1E4341DC0F28}" dt="2024-05-27T13:42:35.219" v="3485" actId="20577"/>
      <pc:docMkLst>
        <pc:docMk/>
      </pc:docMkLst>
      <pc:sldChg chg="del">
        <pc:chgData name="CACERES SANDOVAL, EVA MARIA" userId="efa43ab3-f30d-49e0-8bcf-cbcf637d4549" providerId="ADAL" clId="{C6DC3022-C868-473E-8607-1E4341DC0F28}" dt="2024-05-21T15:30:16.309" v="0" actId="47"/>
        <pc:sldMkLst>
          <pc:docMk/>
          <pc:sldMk cId="3552216212" sldId="256"/>
        </pc:sldMkLst>
      </pc:sldChg>
      <pc:sldChg chg="modSp mod">
        <pc:chgData name="CACERES SANDOVAL, EVA MARIA" userId="efa43ab3-f30d-49e0-8bcf-cbcf637d4549" providerId="ADAL" clId="{C6DC3022-C868-473E-8607-1E4341DC0F28}" dt="2024-05-21T18:11:54.417" v="2521" actId="2711"/>
        <pc:sldMkLst>
          <pc:docMk/>
          <pc:sldMk cId="2739722213" sldId="257"/>
        </pc:sldMkLst>
        <pc:spChg chg="mod">
          <ac:chgData name="CACERES SANDOVAL, EVA MARIA" userId="efa43ab3-f30d-49e0-8bcf-cbcf637d4549" providerId="ADAL" clId="{C6DC3022-C868-473E-8607-1E4341DC0F28}" dt="2024-05-21T18:11:54.417" v="2521" actId="2711"/>
          <ac:spMkLst>
            <pc:docMk/>
            <pc:sldMk cId="2739722213" sldId="257"/>
            <ac:spMk id="2" creationId="{86E42F24-2B50-450C-B8D4-569FA409148F}"/>
          </ac:spMkLst>
        </pc:spChg>
      </pc:sldChg>
      <pc:sldChg chg="del">
        <pc:chgData name="CACERES SANDOVAL, EVA MARIA" userId="efa43ab3-f30d-49e0-8bcf-cbcf637d4549" providerId="ADAL" clId="{C6DC3022-C868-473E-8607-1E4341DC0F28}" dt="2024-05-21T15:33:37.450" v="159" actId="47"/>
        <pc:sldMkLst>
          <pc:docMk/>
          <pc:sldMk cId="0" sldId="258"/>
        </pc:sldMkLst>
      </pc:sldChg>
      <pc:sldChg chg="del">
        <pc:chgData name="CACERES SANDOVAL, EVA MARIA" userId="efa43ab3-f30d-49e0-8bcf-cbcf637d4549" providerId="ADAL" clId="{C6DC3022-C868-473E-8607-1E4341DC0F28}" dt="2024-05-21T15:33:37.450" v="159" actId="47"/>
        <pc:sldMkLst>
          <pc:docMk/>
          <pc:sldMk cId="1943600876" sldId="270"/>
        </pc:sldMkLst>
      </pc:sldChg>
      <pc:sldChg chg="addSp delSp modSp add mod">
        <pc:chgData name="CACERES SANDOVAL, EVA MARIA" userId="efa43ab3-f30d-49e0-8bcf-cbcf637d4549" providerId="ADAL" clId="{C6DC3022-C868-473E-8607-1E4341DC0F28}" dt="2024-05-22T19:05:50.750" v="2604" actId="1076"/>
        <pc:sldMkLst>
          <pc:docMk/>
          <pc:sldMk cId="3697566562" sldId="278"/>
        </pc:sldMkLst>
        <pc:spChg chg="mod">
          <ac:chgData name="CACERES SANDOVAL, EVA MARIA" userId="efa43ab3-f30d-49e0-8bcf-cbcf637d4549" providerId="ADAL" clId="{C6DC3022-C868-473E-8607-1E4341DC0F28}" dt="2024-05-22T19:05:50.750" v="2604" actId="1076"/>
          <ac:spMkLst>
            <pc:docMk/>
            <pc:sldMk cId="3697566562" sldId="278"/>
            <ac:spMk id="3" creationId="{A74000BB-01C3-44BA-816C-04CA7BEBCF72}"/>
          </ac:spMkLst>
        </pc:spChg>
        <pc:spChg chg="add mod">
          <ac:chgData name="CACERES SANDOVAL, EVA MARIA" userId="efa43ab3-f30d-49e0-8bcf-cbcf637d4549" providerId="ADAL" clId="{C6DC3022-C868-473E-8607-1E4341DC0F28}" dt="2024-05-21T15:32:11.621" v="75" actId="1076"/>
          <ac:spMkLst>
            <pc:docMk/>
            <pc:sldMk cId="3697566562" sldId="278"/>
            <ac:spMk id="6" creationId="{6C1E2C2E-24E6-2DB4-39F5-CB11C3842301}"/>
          </ac:spMkLst>
        </pc:spChg>
        <pc:spChg chg="add mod">
          <ac:chgData name="CACERES SANDOVAL, EVA MARIA" userId="efa43ab3-f30d-49e0-8bcf-cbcf637d4549" providerId="ADAL" clId="{C6DC3022-C868-473E-8607-1E4341DC0F28}" dt="2024-05-21T15:32:09.851" v="74" actId="1076"/>
          <ac:spMkLst>
            <pc:docMk/>
            <pc:sldMk cId="3697566562" sldId="278"/>
            <ac:spMk id="8" creationId="{0C15AD5F-2605-F10F-A40A-B2DCE140072D}"/>
          </ac:spMkLst>
        </pc:spChg>
        <pc:spChg chg="mod">
          <ac:chgData name="CACERES SANDOVAL, EVA MARIA" userId="efa43ab3-f30d-49e0-8bcf-cbcf637d4549" providerId="ADAL" clId="{C6DC3022-C868-473E-8607-1E4341DC0F28}" dt="2024-05-21T18:09:31.366" v="2376" actId="2711"/>
          <ac:spMkLst>
            <pc:docMk/>
            <pc:sldMk cId="3697566562" sldId="278"/>
            <ac:spMk id="9" creationId="{2CCD0179-02F2-8188-2F3C-5EC85CFAEB28}"/>
          </ac:spMkLst>
        </pc:spChg>
        <pc:spChg chg="add del mod">
          <ac:chgData name="CACERES SANDOVAL, EVA MARIA" userId="efa43ab3-f30d-49e0-8bcf-cbcf637d4549" providerId="ADAL" clId="{C6DC3022-C868-473E-8607-1E4341DC0F28}" dt="2024-05-21T15:31:59.545" v="69" actId="1076"/>
          <ac:spMkLst>
            <pc:docMk/>
            <pc:sldMk cId="3697566562" sldId="278"/>
            <ac:spMk id="11" creationId="{DB2AFE03-F3DA-ED5E-0F58-FB1B85F2393B}"/>
          </ac:spMkLst>
        </pc:spChg>
        <pc:spChg chg="add del mod">
          <ac:chgData name="CACERES SANDOVAL, EVA MARIA" userId="efa43ab3-f30d-49e0-8bcf-cbcf637d4549" providerId="ADAL" clId="{C6DC3022-C868-473E-8607-1E4341DC0F28}" dt="2024-05-21T15:32:02.608" v="70" actId="1076"/>
          <ac:spMkLst>
            <pc:docMk/>
            <pc:sldMk cId="3697566562" sldId="278"/>
            <ac:spMk id="12" creationId="{2A5F4AE4-3F90-D5B0-F07F-FF52C44102BB}"/>
          </ac:spMkLst>
        </pc:spChg>
        <pc:spChg chg="mod">
          <ac:chgData name="CACERES SANDOVAL, EVA MARIA" userId="efa43ab3-f30d-49e0-8bcf-cbcf637d4549" providerId="ADAL" clId="{C6DC3022-C868-473E-8607-1E4341DC0F28}" dt="2024-05-21T15:32:04.387" v="71" actId="1076"/>
          <ac:spMkLst>
            <pc:docMk/>
            <pc:sldMk cId="3697566562" sldId="278"/>
            <ac:spMk id="13" creationId="{C8A49855-0EE7-D7DF-868F-8404FC0A1B83}"/>
          </ac:spMkLst>
        </pc:spChg>
        <pc:picChg chg="add mod ord modCrop">
          <ac:chgData name="CACERES SANDOVAL, EVA MARIA" userId="efa43ab3-f30d-49e0-8bcf-cbcf637d4549" providerId="ADAL" clId="{C6DC3022-C868-473E-8607-1E4341DC0F28}" dt="2024-05-21T15:32:38.046" v="100" actId="732"/>
          <ac:picMkLst>
            <pc:docMk/>
            <pc:sldMk cId="3697566562" sldId="278"/>
            <ac:picMk id="5" creationId="{93C84370-A5B6-27F6-2289-75A9510A33EE}"/>
          </ac:picMkLst>
        </pc:picChg>
        <pc:picChg chg="del">
          <ac:chgData name="CACERES SANDOVAL, EVA MARIA" userId="efa43ab3-f30d-49e0-8bcf-cbcf637d4549" providerId="ADAL" clId="{C6DC3022-C868-473E-8607-1E4341DC0F28}" dt="2024-05-21T15:31:12.383" v="62" actId="478"/>
          <ac:picMkLst>
            <pc:docMk/>
            <pc:sldMk cId="3697566562" sldId="278"/>
            <ac:picMk id="7" creationId="{453E40E1-4043-0F8A-C710-6FB0CBAB08AF}"/>
          </ac:picMkLst>
        </pc:picChg>
      </pc:sldChg>
      <pc:sldChg chg="del">
        <pc:chgData name="CACERES SANDOVAL, EVA MARIA" userId="efa43ab3-f30d-49e0-8bcf-cbcf637d4549" providerId="ADAL" clId="{C6DC3022-C868-473E-8607-1E4341DC0F28}" dt="2024-05-21T15:33:37.450" v="159" actId="47"/>
        <pc:sldMkLst>
          <pc:docMk/>
          <pc:sldMk cId="2286704298" sldId="285"/>
        </pc:sldMkLst>
      </pc:sldChg>
      <pc:sldChg chg="modSp mod">
        <pc:chgData name="CACERES SANDOVAL, EVA MARIA" userId="efa43ab3-f30d-49e0-8bcf-cbcf637d4549" providerId="ADAL" clId="{C6DC3022-C868-473E-8607-1E4341DC0F28}" dt="2024-05-21T18:09:24.044" v="2375" actId="2711"/>
        <pc:sldMkLst>
          <pc:docMk/>
          <pc:sldMk cId="1911634418" sldId="294"/>
        </pc:sldMkLst>
        <pc:spChg chg="mod">
          <ac:chgData name="CACERES SANDOVAL, EVA MARIA" userId="efa43ab3-f30d-49e0-8bcf-cbcf637d4549" providerId="ADAL" clId="{C6DC3022-C868-473E-8607-1E4341DC0F28}" dt="2024-05-21T18:09:06.883" v="2357" actId="14100"/>
          <ac:spMkLst>
            <pc:docMk/>
            <pc:sldMk cId="1911634418" sldId="294"/>
            <ac:spMk id="2" creationId="{9E35DCEA-11FB-375E-BA08-3B2B59711278}"/>
          </ac:spMkLst>
        </pc:spChg>
        <pc:spChg chg="mod">
          <ac:chgData name="CACERES SANDOVAL, EVA MARIA" userId="efa43ab3-f30d-49e0-8bcf-cbcf637d4549" providerId="ADAL" clId="{C6DC3022-C868-473E-8607-1E4341DC0F28}" dt="2024-05-21T18:09:24.044" v="2375" actId="2711"/>
          <ac:spMkLst>
            <pc:docMk/>
            <pc:sldMk cId="1911634418" sldId="294"/>
            <ac:spMk id="4" creationId="{19A7A5CC-C7F1-1A88-CF54-31D5B8150FAD}"/>
          </ac:spMkLst>
        </pc:spChg>
      </pc:sldChg>
      <pc:sldChg chg="del">
        <pc:chgData name="CACERES SANDOVAL, EVA MARIA" userId="efa43ab3-f30d-49e0-8bcf-cbcf637d4549" providerId="ADAL" clId="{C6DC3022-C868-473E-8607-1E4341DC0F28}" dt="2024-05-21T15:33:37.450" v="159" actId="47"/>
        <pc:sldMkLst>
          <pc:docMk/>
          <pc:sldMk cId="2080095354" sldId="321"/>
        </pc:sldMkLst>
      </pc:sldChg>
      <pc:sldChg chg="del">
        <pc:chgData name="CACERES SANDOVAL, EVA MARIA" userId="efa43ab3-f30d-49e0-8bcf-cbcf637d4549" providerId="ADAL" clId="{C6DC3022-C868-473E-8607-1E4341DC0F28}" dt="2024-05-21T15:33:37.450" v="159" actId="47"/>
        <pc:sldMkLst>
          <pc:docMk/>
          <pc:sldMk cId="3173559739" sldId="322"/>
        </pc:sldMkLst>
      </pc:sldChg>
      <pc:sldChg chg="del">
        <pc:chgData name="CACERES SANDOVAL, EVA MARIA" userId="efa43ab3-f30d-49e0-8bcf-cbcf637d4549" providerId="ADAL" clId="{C6DC3022-C868-473E-8607-1E4341DC0F28}" dt="2024-05-21T15:33:37.450" v="159" actId="47"/>
        <pc:sldMkLst>
          <pc:docMk/>
          <pc:sldMk cId="106896717" sldId="323"/>
        </pc:sldMkLst>
      </pc:sldChg>
      <pc:sldChg chg="del">
        <pc:chgData name="CACERES SANDOVAL, EVA MARIA" userId="efa43ab3-f30d-49e0-8bcf-cbcf637d4549" providerId="ADAL" clId="{C6DC3022-C868-473E-8607-1E4341DC0F28}" dt="2024-05-21T15:33:37.450" v="159" actId="47"/>
        <pc:sldMkLst>
          <pc:docMk/>
          <pc:sldMk cId="2974186335" sldId="337"/>
        </pc:sldMkLst>
      </pc:sldChg>
      <pc:sldChg chg="del">
        <pc:chgData name="CACERES SANDOVAL, EVA MARIA" userId="efa43ab3-f30d-49e0-8bcf-cbcf637d4549" providerId="ADAL" clId="{C6DC3022-C868-473E-8607-1E4341DC0F28}" dt="2024-05-21T15:33:37.450" v="159" actId="47"/>
        <pc:sldMkLst>
          <pc:docMk/>
          <pc:sldMk cId="1931910032" sldId="338"/>
        </pc:sldMkLst>
      </pc:sldChg>
      <pc:sldChg chg="del">
        <pc:chgData name="CACERES SANDOVAL, EVA MARIA" userId="efa43ab3-f30d-49e0-8bcf-cbcf637d4549" providerId="ADAL" clId="{C6DC3022-C868-473E-8607-1E4341DC0F28}" dt="2024-05-21T15:33:37.450" v="159" actId="47"/>
        <pc:sldMkLst>
          <pc:docMk/>
          <pc:sldMk cId="1391939069" sldId="342"/>
        </pc:sldMkLst>
      </pc:sldChg>
      <pc:sldChg chg="addSp delSp modSp add mod">
        <pc:chgData name="CACERES SANDOVAL, EVA MARIA" userId="efa43ab3-f30d-49e0-8bcf-cbcf637d4549" providerId="ADAL" clId="{C6DC3022-C868-473E-8607-1E4341DC0F28}" dt="2024-05-24T16:02:24.389" v="2924"/>
        <pc:sldMkLst>
          <pc:docMk/>
          <pc:sldMk cId="302266982" sldId="928"/>
        </pc:sldMkLst>
        <pc:spChg chg="mod">
          <ac:chgData name="CACERES SANDOVAL, EVA MARIA" userId="efa43ab3-f30d-49e0-8bcf-cbcf637d4549" providerId="ADAL" clId="{C6DC3022-C868-473E-8607-1E4341DC0F28}" dt="2024-05-22T19:06:38.810" v="2611" actId="2711"/>
          <ac:spMkLst>
            <pc:docMk/>
            <pc:sldMk cId="302266982" sldId="928"/>
            <ac:spMk id="2" creationId="{D911260F-ED60-62A5-2257-68DDA3BCA723}"/>
          </ac:spMkLst>
        </pc:spChg>
        <pc:spChg chg="add del mod">
          <ac:chgData name="CACERES SANDOVAL, EVA MARIA" userId="efa43ab3-f30d-49e0-8bcf-cbcf637d4549" providerId="ADAL" clId="{C6DC3022-C868-473E-8607-1E4341DC0F28}" dt="2024-05-23T16:46:15.744" v="2617" actId="478"/>
          <ac:spMkLst>
            <pc:docMk/>
            <pc:sldMk cId="302266982" sldId="928"/>
            <ac:spMk id="5" creationId="{2F5244C1-74AE-BB19-F1F0-1B4A9E19752A}"/>
          </ac:spMkLst>
        </pc:spChg>
        <pc:spChg chg="mod">
          <ac:chgData name="CACERES SANDOVAL, EVA MARIA" userId="efa43ab3-f30d-49e0-8bcf-cbcf637d4549" providerId="ADAL" clId="{C6DC3022-C868-473E-8607-1E4341DC0F28}" dt="2024-05-24T16:02:24.389" v="2924"/>
          <ac:spMkLst>
            <pc:docMk/>
            <pc:sldMk cId="302266982" sldId="928"/>
            <ac:spMk id="9" creationId="{880F1251-9487-A28F-21FD-85A1D2A31ACD}"/>
          </ac:spMkLst>
        </pc:spChg>
        <pc:picChg chg="del">
          <ac:chgData name="CACERES SANDOVAL, EVA MARIA" userId="efa43ab3-f30d-49e0-8bcf-cbcf637d4549" providerId="ADAL" clId="{C6DC3022-C868-473E-8607-1E4341DC0F28}" dt="2024-05-23T16:48:05.389" v="2618" actId="478"/>
          <ac:picMkLst>
            <pc:docMk/>
            <pc:sldMk cId="302266982" sldId="928"/>
            <ac:picMk id="6" creationId="{EFBAC2ED-B8E9-B37F-142E-730D22D7EEA2}"/>
          </ac:picMkLst>
        </pc:picChg>
        <pc:picChg chg="del">
          <ac:chgData name="CACERES SANDOVAL, EVA MARIA" userId="efa43ab3-f30d-49e0-8bcf-cbcf637d4549" providerId="ADAL" clId="{C6DC3022-C868-473E-8607-1E4341DC0F28}" dt="2024-05-23T16:46:12.422" v="2616" actId="478"/>
          <ac:picMkLst>
            <pc:docMk/>
            <pc:sldMk cId="302266982" sldId="928"/>
            <ac:picMk id="8" creationId="{EC7BF5AE-FC3F-971D-A760-78520B11CB65}"/>
          </ac:picMkLst>
        </pc:picChg>
        <pc:picChg chg="add mod">
          <ac:chgData name="CACERES SANDOVAL, EVA MARIA" userId="efa43ab3-f30d-49e0-8bcf-cbcf637d4549" providerId="ADAL" clId="{C6DC3022-C868-473E-8607-1E4341DC0F28}" dt="2024-05-23T16:48:22.325" v="2625" actId="1076"/>
          <ac:picMkLst>
            <pc:docMk/>
            <pc:sldMk cId="302266982" sldId="928"/>
            <ac:picMk id="10" creationId="{109DD856-49C9-6B93-3B66-37813DE774E0}"/>
          </ac:picMkLst>
        </pc:picChg>
      </pc:sldChg>
      <pc:sldChg chg="addSp delSp modSp add mod">
        <pc:chgData name="CACERES SANDOVAL, EVA MARIA" userId="efa43ab3-f30d-49e0-8bcf-cbcf637d4549" providerId="ADAL" clId="{C6DC3022-C868-473E-8607-1E4341DC0F28}" dt="2024-05-27T13:33:55.498" v="3042" actId="1076"/>
        <pc:sldMkLst>
          <pc:docMk/>
          <pc:sldMk cId="431565556" sldId="931"/>
        </pc:sldMkLst>
        <pc:spChg chg="mod">
          <ac:chgData name="CACERES SANDOVAL, EVA MARIA" userId="efa43ab3-f30d-49e0-8bcf-cbcf637d4549" providerId="ADAL" clId="{C6DC3022-C868-473E-8607-1E4341DC0F28}" dt="2024-05-21T18:12:20.321" v="2526" actId="2711"/>
          <ac:spMkLst>
            <pc:docMk/>
            <pc:sldMk cId="431565556" sldId="931"/>
            <ac:spMk id="2" creationId="{D911260F-ED60-62A5-2257-68DDA3BCA723}"/>
          </ac:spMkLst>
        </pc:spChg>
        <pc:spChg chg="add del mod">
          <ac:chgData name="CACERES SANDOVAL, EVA MARIA" userId="efa43ab3-f30d-49e0-8bcf-cbcf637d4549" providerId="ADAL" clId="{C6DC3022-C868-473E-8607-1E4341DC0F28}" dt="2024-05-27T13:33:52.319" v="3040" actId="478"/>
          <ac:spMkLst>
            <pc:docMk/>
            <pc:sldMk cId="431565556" sldId="931"/>
            <ac:spMk id="3" creationId="{6C92EECB-5F7C-A4ED-2230-B3801B9DC324}"/>
          </ac:spMkLst>
        </pc:spChg>
        <pc:spChg chg="mod">
          <ac:chgData name="CACERES SANDOVAL, EVA MARIA" userId="efa43ab3-f30d-49e0-8bcf-cbcf637d4549" providerId="ADAL" clId="{C6DC3022-C868-473E-8607-1E4341DC0F28}" dt="2024-05-27T13:33:55.498" v="3042" actId="1076"/>
          <ac:spMkLst>
            <pc:docMk/>
            <pc:sldMk cId="431565556" sldId="931"/>
            <ac:spMk id="17" creationId="{2F1D8672-4D91-CDB6-8FFF-8DDBD730B453}"/>
          </ac:spMkLst>
        </pc:spChg>
        <pc:picChg chg="add mod">
          <ac:chgData name="CACERES SANDOVAL, EVA MARIA" userId="efa43ab3-f30d-49e0-8bcf-cbcf637d4549" providerId="ADAL" clId="{C6DC3022-C868-473E-8607-1E4341DC0F28}" dt="2024-05-21T16:34:55.402" v="414" actId="208"/>
          <ac:picMkLst>
            <pc:docMk/>
            <pc:sldMk cId="431565556" sldId="931"/>
            <ac:picMk id="5" creationId="{353E1655-042C-6893-4B00-4C745212DD70}"/>
          </ac:picMkLst>
        </pc:picChg>
        <pc:picChg chg="mod">
          <ac:chgData name="CACERES SANDOVAL, EVA MARIA" userId="efa43ab3-f30d-49e0-8bcf-cbcf637d4549" providerId="ADAL" clId="{C6DC3022-C868-473E-8607-1E4341DC0F28}" dt="2024-05-27T13:33:53.878" v="3041" actId="1076"/>
          <ac:picMkLst>
            <pc:docMk/>
            <pc:sldMk cId="431565556" sldId="931"/>
            <ac:picMk id="11" creationId="{C4ED754C-E6A1-13E7-5DF6-79F90B0FB746}"/>
          </ac:picMkLst>
        </pc:picChg>
        <pc:picChg chg="del">
          <ac:chgData name="CACERES SANDOVAL, EVA MARIA" userId="efa43ab3-f30d-49e0-8bcf-cbcf637d4549" providerId="ADAL" clId="{C6DC3022-C868-473E-8607-1E4341DC0F28}" dt="2024-05-21T16:33:28.873" v="409" actId="478"/>
          <ac:picMkLst>
            <pc:docMk/>
            <pc:sldMk cId="431565556" sldId="931"/>
            <ac:picMk id="13" creationId="{C82CC878-8D15-76B1-E771-DDD2C563E29D}"/>
          </ac:picMkLst>
        </pc:picChg>
        <pc:picChg chg="add del">
          <ac:chgData name="CACERES SANDOVAL, EVA MARIA" userId="efa43ab3-f30d-49e0-8bcf-cbcf637d4549" providerId="ADAL" clId="{C6DC3022-C868-473E-8607-1E4341DC0F28}" dt="2024-05-27T13:33:50.193" v="3039" actId="478"/>
          <ac:picMkLst>
            <pc:docMk/>
            <pc:sldMk cId="431565556" sldId="931"/>
            <ac:picMk id="1026" creationId="{453CE0D0-8DF5-B187-3D34-C1B2B029A8DA}"/>
          </ac:picMkLst>
        </pc:picChg>
      </pc:sldChg>
      <pc:sldChg chg="addSp delSp modSp add mod">
        <pc:chgData name="CACERES SANDOVAL, EVA MARIA" userId="efa43ab3-f30d-49e0-8bcf-cbcf637d4549" providerId="ADAL" clId="{C6DC3022-C868-473E-8607-1E4341DC0F28}" dt="2024-05-24T15:16:14.087" v="2815" actId="207"/>
        <pc:sldMkLst>
          <pc:docMk/>
          <pc:sldMk cId="4060697977" sldId="933"/>
        </pc:sldMkLst>
        <pc:spChg chg="mod">
          <ac:chgData name="CACERES SANDOVAL, EVA MARIA" userId="efa43ab3-f30d-49e0-8bcf-cbcf637d4549" providerId="ADAL" clId="{C6DC3022-C868-473E-8607-1E4341DC0F28}" dt="2024-05-21T18:12:14.767" v="2525" actId="2711"/>
          <ac:spMkLst>
            <pc:docMk/>
            <pc:sldMk cId="4060697977" sldId="933"/>
            <ac:spMk id="2" creationId="{D911260F-ED60-62A5-2257-68DDA3BCA723}"/>
          </ac:spMkLst>
        </pc:spChg>
        <pc:spChg chg="add mod">
          <ac:chgData name="CACERES SANDOVAL, EVA MARIA" userId="efa43ab3-f30d-49e0-8bcf-cbcf637d4549" providerId="ADAL" clId="{C6DC3022-C868-473E-8607-1E4341DC0F28}" dt="2024-05-24T15:13:29.228" v="2720" actId="14100"/>
          <ac:spMkLst>
            <pc:docMk/>
            <pc:sldMk cId="4060697977" sldId="933"/>
            <ac:spMk id="3" creationId="{FEC5C94A-CE45-3902-5D0A-00D463F755F0}"/>
          </ac:spMkLst>
        </pc:spChg>
        <pc:spChg chg="mod">
          <ac:chgData name="CACERES SANDOVAL, EVA MARIA" userId="efa43ab3-f30d-49e0-8bcf-cbcf637d4549" providerId="ADAL" clId="{C6DC3022-C868-473E-8607-1E4341DC0F28}" dt="2024-05-24T15:11:14.538" v="2703" actId="1076"/>
          <ac:spMkLst>
            <pc:docMk/>
            <pc:sldMk cId="4060697977" sldId="933"/>
            <ac:spMk id="5" creationId="{8424E0A0-0331-BAB1-177C-2EEF0B6BF013}"/>
          </ac:spMkLst>
        </pc:spChg>
        <pc:spChg chg="add mod">
          <ac:chgData name="CACERES SANDOVAL, EVA MARIA" userId="efa43ab3-f30d-49e0-8bcf-cbcf637d4549" providerId="ADAL" clId="{C6DC3022-C868-473E-8607-1E4341DC0F28}" dt="2024-05-24T15:14:36.232" v="2793" actId="14100"/>
          <ac:spMkLst>
            <pc:docMk/>
            <pc:sldMk cId="4060697977" sldId="933"/>
            <ac:spMk id="6" creationId="{8463D495-BB22-9061-C3CA-43FEF0B56080}"/>
          </ac:spMkLst>
        </pc:spChg>
        <pc:spChg chg="mod topLvl">
          <ac:chgData name="CACERES SANDOVAL, EVA MARIA" userId="efa43ab3-f30d-49e0-8bcf-cbcf637d4549" providerId="ADAL" clId="{C6DC3022-C868-473E-8607-1E4341DC0F28}" dt="2024-05-24T15:12:36.116" v="2710" actId="478"/>
          <ac:spMkLst>
            <pc:docMk/>
            <pc:sldMk cId="4060697977" sldId="933"/>
            <ac:spMk id="9" creationId="{7BDD199F-AECD-71A1-BE42-943932485A79}"/>
          </ac:spMkLst>
        </pc:spChg>
        <pc:spChg chg="add mod">
          <ac:chgData name="CACERES SANDOVAL, EVA MARIA" userId="efa43ab3-f30d-49e0-8bcf-cbcf637d4549" providerId="ADAL" clId="{C6DC3022-C868-473E-8607-1E4341DC0F28}" dt="2024-05-24T15:16:14.087" v="2815" actId="207"/>
          <ac:spMkLst>
            <pc:docMk/>
            <pc:sldMk cId="4060697977" sldId="933"/>
            <ac:spMk id="14" creationId="{297583D6-54C3-8800-C428-69980500D21E}"/>
          </ac:spMkLst>
        </pc:spChg>
        <pc:grpChg chg="del mod">
          <ac:chgData name="CACERES SANDOVAL, EVA MARIA" userId="efa43ab3-f30d-49e0-8bcf-cbcf637d4549" providerId="ADAL" clId="{C6DC3022-C868-473E-8607-1E4341DC0F28}" dt="2024-05-24T15:12:36.116" v="2710" actId="478"/>
          <ac:grpSpMkLst>
            <pc:docMk/>
            <pc:sldMk cId="4060697977" sldId="933"/>
            <ac:grpSpMk id="13" creationId="{89CE1279-4EE6-248C-CA33-5FD6D40B9785}"/>
          </ac:grpSpMkLst>
        </pc:grpChg>
        <pc:picChg chg="del">
          <ac:chgData name="CACERES SANDOVAL, EVA MARIA" userId="efa43ab3-f30d-49e0-8bcf-cbcf637d4549" providerId="ADAL" clId="{C6DC3022-C868-473E-8607-1E4341DC0F28}" dt="2024-05-21T17:46:42.688" v="1731" actId="478"/>
          <ac:picMkLst>
            <pc:docMk/>
            <pc:sldMk cId="4060697977" sldId="933"/>
            <ac:picMk id="7" creationId="{ED25980A-2382-D141-545D-D3F5EDDAC42F}"/>
          </ac:picMkLst>
        </pc:picChg>
        <pc:picChg chg="add mod ord">
          <ac:chgData name="CACERES SANDOVAL, EVA MARIA" userId="efa43ab3-f30d-49e0-8bcf-cbcf637d4549" providerId="ADAL" clId="{C6DC3022-C868-473E-8607-1E4341DC0F28}" dt="2024-05-24T15:13:22.422" v="2717" actId="1076"/>
          <ac:picMkLst>
            <pc:docMk/>
            <pc:sldMk cId="4060697977" sldId="933"/>
            <ac:picMk id="8" creationId="{807EB9DC-BA5A-C312-957F-8D5B833CBF1E}"/>
          </ac:picMkLst>
        </pc:picChg>
        <pc:picChg chg="del mod topLvl">
          <ac:chgData name="CACERES SANDOVAL, EVA MARIA" userId="efa43ab3-f30d-49e0-8bcf-cbcf637d4549" providerId="ADAL" clId="{C6DC3022-C868-473E-8607-1E4341DC0F28}" dt="2024-05-24T15:12:36.116" v="2710" actId="478"/>
          <ac:picMkLst>
            <pc:docMk/>
            <pc:sldMk cId="4060697977" sldId="933"/>
            <ac:picMk id="11" creationId="{5506D587-7970-46BD-6C52-A7E53DF00C6A}"/>
          </ac:picMkLst>
        </pc:picChg>
        <pc:cxnChg chg="add mod">
          <ac:chgData name="CACERES SANDOVAL, EVA MARIA" userId="efa43ab3-f30d-49e0-8bcf-cbcf637d4549" providerId="ADAL" clId="{C6DC3022-C868-473E-8607-1E4341DC0F28}" dt="2024-05-24T15:14:36.232" v="2793" actId="14100"/>
          <ac:cxnSpMkLst>
            <pc:docMk/>
            <pc:sldMk cId="4060697977" sldId="933"/>
            <ac:cxnSpMk id="12" creationId="{CC68D22E-7E1F-18BA-C93C-E79C91A0F7B4}"/>
          </ac:cxnSpMkLst>
        </pc:cxnChg>
      </pc:sldChg>
      <pc:sldChg chg="addSp delSp modSp add mod">
        <pc:chgData name="CACERES SANDOVAL, EVA MARIA" userId="efa43ab3-f30d-49e0-8bcf-cbcf637d4549" providerId="ADAL" clId="{C6DC3022-C868-473E-8607-1E4341DC0F28}" dt="2024-05-24T15:16:22.285" v="2816" actId="207"/>
        <pc:sldMkLst>
          <pc:docMk/>
          <pc:sldMk cId="1416081266" sldId="934"/>
        </pc:sldMkLst>
        <pc:spChg chg="mod">
          <ac:chgData name="CACERES SANDOVAL, EVA MARIA" userId="efa43ab3-f30d-49e0-8bcf-cbcf637d4549" providerId="ADAL" clId="{C6DC3022-C868-473E-8607-1E4341DC0F28}" dt="2024-05-21T18:12:10.326" v="2524" actId="2711"/>
          <ac:spMkLst>
            <pc:docMk/>
            <pc:sldMk cId="1416081266" sldId="934"/>
            <ac:spMk id="2" creationId="{D911260F-ED60-62A5-2257-68DDA3BCA723}"/>
          </ac:spMkLst>
        </pc:spChg>
        <pc:spChg chg="add mod">
          <ac:chgData name="CACERES SANDOVAL, EVA MARIA" userId="efa43ab3-f30d-49e0-8bcf-cbcf637d4549" providerId="ADAL" clId="{C6DC3022-C868-473E-8607-1E4341DC0F28}" dt="2024-05-24T15:15:19.198" v="2802" actId="14100"/>
          <ac:spMkLst>
            <pc:docMk/>
            <pc:sldMk cId="1416081266" sldId="934"/>
            <ac:spMk id="3" creationId="{136F470C-9846-D015-C953-0D52C4A6A711}"/>
          </ac:spMkLst>
        </pc:spChg>
        <pc:spChg chg="mod">
          <ac:chgData name="CACERES SANDOVAL, EVA MARIA" userId="efa43ab3-f30d-49e0-8bcf-cbcf637d4549" providerId="ADAL" clId="{C6DC3022-C868-473E-8607-1E4341DC0F28}" dt="2024-05-21T17:53:22.050" v="1909" actId="1076"/>
          <ac:spMkLst>
            <pc:docMk/>
            <pc:sldMk cId="1416081266" sldId="934"/>
            <ac:spMk id="5" creationId="{5E2E82B8-C63C-BB48-A980-34E28CA9C646}"/>
          </ac:spMkLst>
        </pc:spChg>
        <pc:spChg chg="add mod">
          <ac:chgData name="CACERES SANDOVAL, EVA MARIA" userId="efa43ab3-f30d-49e0-8bcf-cbcf637d4549" providerId="ADAL" clId="{C6DC3022-C868-473E-8607-1E4341DC0F28}" dt="2024-05-24T15:16:22.285" v="2816" actId="207"/>
          <ac:spMkLst>
            <pc:docMk/>
            <pc:sldMk cId="1416081266" sldId="934"/>
            <ac:spMk id="7" creationId="{0796CAED-D8FF-AFF7-1F16-15491211F431}"/>
          </ac:spMkLst>
        </pc:spChg>
        <pc:spChg chg="mod">
          <ac:chgData name="CACERES SANDOVAL, EVA MARIA" userId="efa43ab3-f30d-49e0-8bcf-cbcf637d4549" providerId="ADAL" clId="{C6DC3022-C868-473E-8607-1E4341DC0F28}" dt="2024-05-22T19:06:23.620" v="2609" actId="2711"/>
          <ac:spMkLst>
            <pc:docMk/>
            <pc:sldMk cId="1416081266" sldId="934"/>
            <ac:spMk id="9" creationId="{7BDD199F-AECD-71A1-BE42-943932485A79}"/>
          </ac:spMkLst>
        </pc:spChg>
        <pc:spChg chg="add mod">
          <ac:chgData name="CACERES SANDOVAL, EVA MARIA" userId="efa43ab3-f30d-49e0-8bcf-cbcf637d4549" providerId="ADAL" clId="{C6DC3022-C868-473E-8607-1E4341DC0F28}" dt="2024-05-24T15:15:21.631" v="2803" actId="1076"/>
          <ac:spMkLst>
            <pc:docMk/>
            <pc:sldMk cId="1416081266" sldId="934"/>
            <ac:spMk id="16" creationId="{1B40606F-C83E-E58A-ABDD-FD045D73F0F9}"/>
          </ac:spMkLst>
        </pc:spChg>
        <pc:picChg chg="del">
          <ac:chgData name="CACERES SANDOVAL, EVA MARIA" userId="efa43ab3-f30d-49e0-8bcf-cbcf637d4549" providerId="ADAL" clId="{C6DC3022-C868-473E-8607-1E4341DC0F28}" dt="2024-05-21T16:38:52.277" v="422" actId="478"/>
          <ac:picMkLst>
            <pc:docMk/>
            <pc:sldMk cId="1416081266" sldId="934"/>
            <ac:picMk id="6" creationId="{63E9E909-5CBF-6CA8-CA03-347BC22B61A2}"/>
          </ac:picMkLst>
        </pc:picChg>
        <pc:picChg chg="add del mod">
          <ac:chgData name="CACERES SANDOVAL, EVA MARIA" userId="efa43ab3-f30d-49e0-8bcf-cbcf637d4549" providerId="ADAL" clId="{C6DC3022-C868-473E-8607-1E4341DC0F28}" dt="2024-05-21T16:39:45.732" v="428" actId="478"/>
          <ac:picMkLst>
            <pc:docMk/>
            <pc:sldMk cId="1416081266" sldId="934"/>
            <ac:picMk id="7" creationId="{8B1D1D73-9FE8-EDB3-EBFC-771731BC6385}"/>
          </ac:picMkLst>
        </pc:picChg>
        <pc:picChg chg="add mod">
          <ac:chgData name="CACERES SANDOVAL, EVA MARIA" userId="efa43ab3-f30d-49e0-8bcf-cbcf637d4549" providerId="ADAL" clId="{C6DC3022-C868-473E-8607-1E4341DC0F28}" dt="2024-05-21T16:41:41.453" v="459" actId="208"/>
          <ac:picMkLst>
            <pc:docMk/>
            <pc:sldMk cId="1416081266" sldId="934"/>
            <ac:picMk id="10" creationId="{D380B69D-F424-D2C8-CD7B-8366CCC85489}"/>
          </ac:picMkLst>
        </pc:picChg>
        <pc:cxnChg chg="add del mod">
          <ac:chgData name="CACERES SANDOVAL, EVA MARIA" userId="efa43ab3-f30d-49e0-8bcf-cbcf637d4549" providerId="ADAL" clId="{C6DC3022-C868-473E-8607-1E4341DC0F28}" dt="2024-05-24T15:15:45.813" v="2808" actId="478"/>
          <ac:cxnSpMkLst>
            <pc:docMk/>
            <pc:sldMk cId="1416081266" sldId="934"/>
            <ac:cxnSpMk id="6" creationId="{34510A14-545A-7510-F6D7-5294E1698152}"/>
          </ac:cxnSpMkLst>
        </pc:cxnChg>
        <pc:cxnChg chg="add mod">
          <ac:chgData name="CACERES SANDOVAL, EVA MARIA" userId="efa43ab3-f30d-49e0-8bcf-cbcf637d4549" providerId="ADAL" clId="{C6DC3022-C868-473E-8607-1E4341DC0F28}" dt="2024-05-24T15:15:55.272" v="2810" actId="1076"/>
          <ac:cxnSpMkLst>
            <pc:docMk/>
            <pc:sldMk cId="1416081266" sldId="934"/>
            <ac:cxnSpMk id="11" creationId="{7CF4C99C-15BC-4C50-0512-DAE234345F38}"/>
          </ac:cxnSpMkLst>
        </pc:cxnChg>
        <pc:cxnChg chg="add del mod">
          <ac:chgData name="CACERES SANDOVAL, EVA MARIA" userId="efa43ab3-f30d-49e0-8bcf-cbcf637d4549" providerId="ADAL" clId="{C6DC3022-C868-473E-8607-1E4341DC0F28}" dt="2024-05-24T15:15:11.873" v="2799" actId="478"/>
          <ac:cxnSpMkLst>
            <pc:docMk/>
            <pc:sldMk cId="1416081266" sldId="934"/>
            <ac:cxnSpMk id="12" creationId="{564B0026-1713-7A48-4031-7F6D963E2A9E}"/>
          </ac:cxnSpMkLst>
        </pc:cxnChg>
      </pc:sldChg>
      <pc:sldChg chg="addSp delSp modSp add mod ord">
        <pc:chgData name="CACERES SANDOVAL, EVA MARIA" userId="efa43ab3-f30d-49e0-8bcf-cbcf637d4549" providerId="ADAL" clId="{C6DC3022-C868-473E-8607-1E4341DC0F28}" dt="2024-05-22T19:06:02.822" v="2606" actId="1076"/>
        <pc:sldMkLst>
          <pc:docMk/>
          <pc:sldMk cId="915978399" sldId="935"/>
        </pc:sldMkLst>
        <pc:spChg chg="mod">
          <ac:chgData name="CACERES SANDOVAL, EVA MARIA" userId="efa43ab3-f30d-49e0-8bcf-cbcf637d4549" providerId="ADAL" clId="{C6DC3022-C868-473E-8607-1E4341DC0F28}" dt="2024-05-21T18:12:25.817" v="2527" actId="2711"/>
          <ac:spMkLst>
            <pc:docMk/>
            <pc:sldMk cId="915978399" sldId="935"/>
            <ac:spMk id="2" creationId="{E60990A3-0943-40C0-F3B0-629CBC8B6666}"/>
          </ac:spMkLst>
        </pc:spChg>
        <pc:spChg chg="add mod">
          <ac:chgData name="CACERES SANDOVAL, EVA MARIA" userId="efa43ab3-f30d-49e0-8bcf-cbcf637d4549" providerId="ADAL" clId="{C6DC3022-C868-473E-8607-1E4341DC0F28}" dt="2024-05-22T19:06:01.024" v="2605" actId="1076"/>
          <ac:spMkLst>
            <pc:docMk/>
            <pc:sldMk cId="915978399" sldId="935"/>
            <ac:spMk id="3" creationId="{DDC1E40E-29AE-B484-AD90-81E70EF536C7}"/>
          </ac:spMkLst>
        </pc:spChg>
        <pc:spChg chg="add del mod">
          <ac:chgData name="CACERES SANDOVAL, EVA MARIA" userId="efa43ab3-f30d-49e0-8bcf-cbcf637d4549" providerId="ADAL" clId="{C6DC3022-C868-473E-8607-1E4341DC0F28}" dt="2024-05-21T17:38:16.114" v="1114" actId="478"/>
          <ac:spMkLst>
            <pc:docMk/>
            <pc:sldMk cId="915978399" sldId="935"/>
            <ac:spMk id="5" creationId="{D4E31299-2B11-1B72-3493-36F74132977D}"/>
          </ac:spMkLst>
        </pc:spChg>
        <pc:spChg chg="add del mod">
          <ac:chgData name="CACERES SANDOVAL, EVA MARIA" userId="efa43ab3-f30d-49e0-8bcf-cbcf637d4549" providerId="ADAL" clId="{C6DC3022-C868-473E-8607-1E4341DC0F28}" dt="2024-05-21T17:54:54.362" v="1988" actId="478"/>
          <ac:spMkLst>
            <pc:docMk/>
            <pc:sldMk cId="915978399" sldId="935"/>
            <ac:spMk id="7" creationId="{AA008B85-2B5F-A03E-65F9-9FF10C0CB954}"/>
          </ac:spMkLst>
        </pc:spChg>
        <pc:spChg chg="mod">
          <ac:chgData name="CACERES SANDOVAL, EVA MARIA" userId="efa43ab3-f30d-49e0-8bcf-cbcf637d4549" providerId="ADAL" clId="{C6DC3022-C868-473E-8607-1E4341DC0F28}" dt="2024-05-22T19:06:02.822" v="2606" actId="1076"/>
          <ac:spMkLst>
            <pc:docMk/>
            <pc:sldMk cId="915978399" sldId="935"/>
            <ac:spMk id="10" creationId="{7F56BBAB-7B32-5F91-896F-33F06B98BD7F}"/>
          </ac:spMkLst>
        </pc:spChg>
        <pc:spChg chg="add mod">
          <ac:chgData name="CACERES SANDOVAL, EVA MARIA" userId="efa43ab3-f30d-49e0-8bcf-cbcf637d4549" providerId="ADAL" clId="{C6DC3022-C868-473E-8607-1E4341DC0F28}" dt="2024-05-21T17:54:57.735" v="1990" actId="1076"/>
          <ac:spMkLst>
            <pc:docMk/>
            <pc:sldMk cId="915978399" sldId="935"/>
            <ac:spMk id="11" creationId="{212AD403-0CF1-65D2-B624-963598D49C78}"/>
          </ac:spMkLst>
        </pc:spChg>
        <pc:grpChg chg="mod">
          <ac:chgData name="CACERES SANDOVAL, EVA MARIA" userId="efa43ab3-f30d-49e0-8bcf-cbcf637d4549" providerId="ADAL" clId="{C6DC3022-C868-473E-8607-1E4341DC0F28}" dt="2024-05-21T17:39:00.934" v="1124" actId="1076"/>
          <ac:grpSpMkLst>
            <pc:docMk/>
            <pc:sldMk cId="915978399" sldId="935"/>
            <ac:grpSpMk id="9" creationId="{73152118-76A1-B0A2-21F6-7EAB1BAD62CD}"/>
          </ac:grpSpMkLst>
        </pc:grpChg>
        <pc:picChg chg="mod">
          <ac:chgData name="CACERES SANDOVAL, EVA MARIA" userId="efa43ab3-f30d-49e0-8bcf-cbcf637d4549" providerId="ADAL" clId="{C6DC3022-C868-473E-8607-1E4341DC0F28}" dt="2024-05-21T17:33:57.798" v="632" actId="208"/>
          <ac:picMkLst>
            <pc:docMk/>
            <pc:sldMk cId="915978399" sldId="935"/>
            <ac:picMk id="6" creationId="{2BFCACBB-BFF5-643D-A8E6-CE049858D032}"/>
          </ac:picMkLst>
        </pc:picChg>
        <pc:picChg chg="mod">
          <ac:chgData name="CACERES SANDOVAL, EVA MARIA" userId="efa43ab3-f30d-49e0-8bcf-cbcf637d4549" providerId="ADAL" clId="{C6DC3022-C868-473E-8607-1E4341DC0F28}" dt="2024-05-21T17:33:57.798" v="632" actId="208"/>
          <ac:picMkLst>
            <pc:docMk/>
            <pc:sldMk cId="915978399" sldId="935"/>
            <ac:picMk id="8" creationId="{A0F771CA-B353-C120-7C33-CEADA5BB2504}"/>
          </ac:picMkLst>
        </pc:picChg>
      </pc:sldChg>
      <pc:sldChg chg="addSp delSp modSp add mod">
        <pc:chgData name="CACERES SANDOVAL, EVA MARIA" userId="efa43ab3-f30d-49e0-8bcf-cbcf637d4549" providerId="ADAL" clId="{C6DC3022-C868-473E-8607-1E4341DC0F28}" dt="2024-05-24T15:17:31.222" v="2880" actId="1076"/>
        <pc:sldMkLst>
          <pc:docMk/>
          <pc:sldMk cId="1215131089" sldId="936"/>
        </pc:sldMkLst>
        <pc:spChg chg="add mod">
          <ac:chgData name="CACERES SANDOVAL, EVA MARIA" userId="efa43ab3-f30d-49e0-8bcf-cbcf637d4549" providerId="ADAL" clId="{C6DC3022-C868-473E-8607-1E4341DC0F28}" dt="2024-05-24T15:17:07.813" v="2848" actId="14100"/>
          <ac:spMkLst>
            <pc:docMk/>
            <pc:sldMk cId="1215131089" sldId="936"/>
            <ac:spMk id="2" creationId="{27C9E62F-8938-D49B-6C88-16F877BB5CEB}"/>
          </ac:spMkLst>
        </pc:spChg>
        <pc:spChg chg="add mod">
          <ac:chgData name="CACERES SANDOVAL, EVA MARIA" userId="efa43ab3-f30d-49e0-8bcf-cbcf637d4549" providerId="ADAL" clId="{C6DC3022-C868-473E-8607-1E4341DC0F28}" dt="2024-05-24T15:17:31.222" v="2880" actId="1076"/>
          <ac:spMkLst>
            <pc:docMk/>
            <pc:sldMk cId="1215131089" sldId="936"/>
            <ac:spMk id="6" creationId="{53C91D88-5D96-7555-7C58-1D08DEC9C05A}"/>
          </ac:spMkLst>
        </pc:spChg>
        <pc:spChg chg="add mod">
          <ac:chgData name="CACERES SANDOVAL, EVA MARIA" userId="efa43ab3-f30d-49e0-8bcf-cbcf637d4549" providerId="ADAL" clId="{C6DC3022-C868-473E-8607-1E4341DC0F28}" dt="2024-05-21T17:54:32.077" v="1980" actId="1076"/>
          <ac:spMkLst>
            <pc:docMk/>
            <pc:sldMk cId="1215131089" sldId="936"/>
            <ac:spMk id="7" creationId="{EA00C67B-CF74-76E9-48B2-3348F90C7DA4}"/>
          </ac:spMkLst>
        </pc:spChg>
        <pc:spChg chg="mod">
          <ac:chgData name="CACERES SANDOVAL, EVA MARIA" userId="efa43ab3-f30d-49e0-8bcf-cbcf637d4549" providerId="ADAL" clId="{C6DC3022-C868-473E-8607-1E4341DC0F28}" dt="2024-05-22T19:06:27.756" v="2610" actId="2711"/>
          <ac:spMkLst>
            <pc:docMk/>
            <pc:sldMk cId="1215131089" sldId="936"/>
            <ac:spMk id="9" creationId="{DA5F819D-89B6-B121-879F-E688F5CD9E25}"/>
          </ac:spMkLst>
        </pc:spChg>
        <pc:spChg chg="mod">
          <ac:chgData name="CACERES SANDOVAL, EVA MARIA" userId="efa43ab3-f30d-49e0-8bcf-cbcf637d4549" providerId="ADAL" clId="{C6DC3022-C868-473E-8607-1E4341DC0F28}" dt="2024-05-21T18:12:06.557" v="2523" actId="2711"/>
          <ac:spMkLst>
            <pc:docMk/>
            <pc:sldMk cId="1215131089" sldId="936"/>
            <ac:spMk id="10" creationId="{D715F8AF-90E4-5089-CCA1-38D35B4F5D81}"/>
          </ac:spMkLst>
        </pc:spChg>
        <pc:picChg chg="add mod">
          <ac:chgData name="CACERES SANDOVAL, EVA MARIA" userId="efa43ab3-f30d-49e0-8bcf-cbcf637d4549" providerId="ADAL" clId="{C6DC3022-C868-473E-8607-1E4341DC0F28}" dt="2024-05-21T16:42:51.765" v="466" actId="1076"/>
          <ac:picMkLst>
            <pc:docMk/>
            <pc:sldMk cId="1215131089" sldId="936"/>
            <ac:picMk id="3" creationId="{667728B8-69BC-6EC4-317F-1D7A17E83DA0}"/>
          </ac:picMkLst>
        </pc:picChg>
        <pc:picChg chg="del">
          <ac:chgData name="CACERES SANDOVAL, EVA MARIA" userId="efa43ab3-f30d-49e0-8bcf-cbcf637d4549" providerId="ADAL" clId="{C6DC3022-C868-473E-8607-1E4341DC0F28}" dt="2024-05-21T16:42:00.100" v="460" actId="478"/>
          <ac:picMkLst>
            <pc:docMk/>
            <pc:sldMk cId="1215131089" sldId="936"/>
            <ac:picMk id="8" creationId="{5061998C-8B52-E7C2-87B1-DE39F34F4F97}"/>
          </ac:picMkLst>
        </pc:picChg>
        <pc:cxnChg chg="add del mod">
          <ac:chgData name="CACERES SANDOVAL, EVA MARIA" userId="efa43ab3-f30d-49e0-8bcf-cbcf637d4549" providerId="ADAL" clId="{C6DC3022-C868-473E-8607-1E4341DC0F28}" dt="2024-05-24T15:16:27.634" v="2817" actId="478"/>
          <ac:cxnSpMkLst>
            <pc:docMk/>
            <pc:sldMk cId="1215131089" sldId="936"/>
            <ac:cxnSpMk id="5" creationId="{F7C17AB4-B6B9-C514-91C6-D002B6A4CD9B}"/>
          </ac:cxnSpMkLst>
        </pc:cxnChg>
        <pc:cxnChg chg="add mod">
          <ac:chgData name="CACERES SANDOVAL, EVA MARIA" userId="efa43ab3-f30d-49e0-8bcf-cbcf637d4549" providerId="ADAL" clId="{C6DC3022-C868-473E-8607-1E4341DC0F28}" dt="2024-05-24T15:17:31.222" v="2880" actId="1076"/>
          <ac:cxnSpMkLst>
            <pc:docMk/>
            <pc:sldMk cId="1215131089" sldId="936"/>
            <ac:cxnSpMk id="8" creationId="{42111670-10DA-750F-D239-BD15DC8AB8DC}"/>
          </ac:cxnSpMkLst>
        </pc:cxnChg>
      </pc:sldChg>
      <pc:sldChg chg="del">
        <pc:chgData name="CACERES SANDOVAL, EVA MARIA" userId="efa43ab3-f30d-49e0-8bcf-cbcf637d4549" providerId="ADAL" clId="{C6DC3022-C868-473E-8607-1E4341DC0F28}" dt="2024-05-21T15:33:37.450" v="159" actId="47"/>
        <pc:sldMkLst>
          <pc:docMk/>
          <pc:sldMk cId="3068304750" sldId="4080"/>
        </pc:sldMkLst>
      </pc:sldChg>
      <pc:sldChg chg="del">
        <pc:chgData name="CACERES SANDOVAL, EVA MARIA" userId="efa43ab3-f30d-49e0-8bcf-cbcf637d4549" providerId="ADAL" clId="{C6DC3022-C868-473E-8607-1E4341DC0F28}" dt="2024-05-21T15:33:37.450" v="159" actId="47"/>
        <pc:sldMkLst>
          <pc:docMk/>
          <pc:sldMk cId="4078335500" sldId="4121"/>
        </pc:sldMkLst>
      </pc:sldChg>
      <pc:sldChg chg="del">
        <pc:chgData name="CACERES SANDOVAL, EVA MARIA" userId="efa43ab3-f30d-49e0-8bcf-cbcf637d4549" providerId="ADAL" clId="{C6DC3022-C868-473E-8607-1E4341DC0F28}" dt="2024-05-21T15:33:37.450" v="159" actId="47"/>
        <pc:sldMkLst>
          <pc:docMk/>
          <pc:sldMk cId="2609611502" sldId="4124"/>
        </pc:sldMkLst>
      </pc:sldChg>
      <pc:sldChg chg="del">
        <pc:chgData name="CACERES SANDOVAL, EVA MARIA" userId="efa43ab3-f30d-49e0-8bcf-cbcf637d4549" providerId="ADAL" clId="{C6DC3022-C868-473E-8607-1E4341DC0F28}" dt="2024-05-21T15:33:37.450" v="159" actId="47"/>
        <pc:sldMkLst>
          <pc:docMk/>
          <pc:sldMk cId="1493633827" sldId="4126"/>
        </pc:sldMkLst>
      </pc:sldChg>
      <pc:sldChg chg="del">
        <pc:chgData name="CACERES SANDOVAL, EVA MARIA" userId="efa43ab3-f30d-49e0-8bcf-cbcf637d4549" providerId="ADAL" clId="{C6DC3022-C868-473E-8607-1E4341DC0F28}" dt="2024-05-21T15:33:37.450" v="159" actId="47"/>
        <pc:sldMkLst>
          <pc:docMk/>
          <pc:sldMk cId="3391351729" sldId="4133"/>
        </pc:sldMkLst>
      </pc:sldChg>
      <pc:sldChg chg="del">
        <pc:chgData name="CACERES SANDOVAL, EVA MARIA" userId="efa43ab3-f30d-49e0-8bcf-cbcf637d4549" providerId="ADAL" clId="{C6DC3022-C868-473E-8607-1E4341DC0F28}" dt="2024-05-21T15:33:37.450" v="159" actId="47"/>
        <pc:sldMkLst>
          <pc:docMk/>
          <pc:sldMk cId="1185128486" sldId="4134"/>
        </pc:sldMkLst>
      </pc:sldChg>
      <pc:sldChg chg="del">
        <pc:chgData name="CACERES SANDOVAL, EVA MARIA" userId="efa43ab3-f30d-49e0-8bcf-cbcf637d4549" providerId="ADAL" clId="{C6DC3022-C868-473E-8607-1E4341DC0F28}" dt="2024-05-21T15:33:28.476" v="157" actId="47"/>
        <pc:sldMkLst>
          <pc:docMk/>
          <pc:sldMk cId="3543309772" sldId="6777"/>
        </pc:sldMkLst>
      </pc:sldChg>
      <pc:sldChg chg="del">
        <pc:chgData name="CACERES SANDOVAL, EVA MARIA" userId="efa43ab3-f30d-49e0-8bcf-cbcf637d4549" providerId="ADAL" clId="{C6DC3022-C868-473E-8607-1E4341DC0F28}" dt="2024-05-21T15:33:30.021" v="158" actId="47"/>
        <pc:sldMkLst>
          <pc:docMk/>
          <pc:sldMk cId="3149321003" sldId="6778"/>
        </pc:sldMkLst>
      </pc:sldChg>
      <pc:sldChg chg="del">
        <pc:chgData name="CACERES SANDOVAL, EVA MARIA" userId="efa43ab3-f30d-49e0-8bcf-cbcf637d4549" providerId="ADAL" clId="{C6DC3022-C868-473E-8607-1E4341DC0F28}" dt="2024-05-21T15:33:37.450" v="159" actId="47"/>
        <pc:sldMkLst>
          <pc:docMk/>
          <pc:sldMk cId="3909832258" sldId="6786"/>
        </pc:sldMkLst>
      </pc:sldChg>
      <pc:sldChg chg="del">
        <pc:chgData name="CACERES SANDOVAL, EVA MARIA" userId="efa43ab3-f30d-49e0-8bcf-cbcf637d4549" providerId="ADAL" clId="{C6DC3022-C868-473E-8607-1E4341DC0F28}" dt="2024-05-21T15:30:29.804" v="1" actId="47"/>
        <pc:sldMkLst>
          <pc:docMk/>
          <pc:sldMk cId="2196945772" sldId="6790"/>
        </pc:sldMkLst>
      </pc:sldChg>
      <pc:sldChg chg="del">
        <pc:chgData name="CACERES SANDOVAL, EVA MARIA" userId="efa43ab3-f30d-49e0-8bcf-cbcf637d4549" providerId="ADAL" clId="{C6DC3022-C868-473E-8607-1E4341DC0F28}" dt="2024-05-21T15:30:29.804" v="1" actId="47"/>
        <pc:sldMkLst>
          <pc:docMk/>
          <pc:sldMk cId="2546688620" sldId="6806"/>
        </pc:sldMkLst>
      </pc:sldChg>
      <pc:sldChg chg="del">
        <pc:chgData name="CACERES SANDOVAL, EVA MARIA" userId="efa43ab3-f30d-49e0-8bcf-cbcf637d4549" providerId="ADAL" clId="{C6DC3022-C868-473E-8607-1E4341DC0F28}" dt="2024-05-21T15:33:37.450" v="159" actId="47"/>
        <pc:sldMkLst>
          <pc:docMk/>
          <pc:sldMk cId="382639941" sldId="6823"/>
        </pc:sldMkLst>
      </pc:sldChg>
      <pc:sldChg chg="del">
        <pc:chgData name="CACERES SANDOVAL, EVA MARIA" userId="efa43ab3-f30d-49e0-8bcf-cbcf637d4549" providerId="ADAL" clId="{C6DC3022-C868-473E-8607-1E4341DC0F28}" dt="2024-05-21T15:33:37.450" v="159" actId="47"/>
        <pc:sldMkLst>
          <pc:docMk/>
          <pc:sldMk cId="3109693794" sldId="6824"/>
        </pc:sldMkLst>
      </pc:sldChg>
      <pc:sldChg chg="del">
        <pc:chgData name="CACERES SANDOVAL, EVA MARIA" userId="efa43ab3-f30d-49e0-8bcf-cbcf637d4549" providerId="ADAL" clId="{C6DC3022-C868-473E-8607-1E4341DC0F28}" dt="2024-05-21T15:33:37.450" v="159" actId="47"/>
        <pc:sldMkLst>
          <pc:docMk/>
          <pc:sldMk cId="1106983411" sldId="6826"/>
        </pc:sldMkLst>
      </pc:sldChg>
      <pc:sldChg chg="del">
        <pc:chgData name="CACERES SANDOVAL, EVA MARIA" userId="efa43ab3-f30d-49e0-8bcf-cbcf637d4549" providerId="ADAL" clId="{C6DC3022-C868-473E-8607-1E4341DC0F28}" dt="2024-05-21T15:33:37.450" v="159" actId="47"/>
        <pc:sldMkLst>
          <pc:docMk/>
          <pc:sldMk cId="3453518329" sldId="6828"/>
        </pc:sldMkLst>
      </pc:sldChg>
      <pc:sldChg chg="del">
        <pc:chgData name="CACERES SANDOVAL, EVA MARIA" userId="efa43ab3-f30d-49e0-8bcf-cbcf637d4549" providerId="ADAL" clId="{C6DC3022-C868-473E-8607-1E4341DC0F28}" dt="2024-05-21T15:30:29.804" v="1" actId="47"/>
        <pc:sldMkLst>
          <pc:docMk/>
          <pc:sldMk cId="1004994322" sldId="6831"/>
        </pc:sldMkLst>
      </pc:sldChg>
      <pc:sldChg chg="del">
        <pc:chgData name="CACERES SANDOVAL, EVA MARIA" userId="efa43ab3-f30d-49e0-8bcf-cbcf637d4549" providerId="ADAL" clId="{C6DC3022-C868-473E-8607-1E4341DC0F28}" dt="2024-05-21T15:30:29.804" v="1" actId="47"/>
        <pc:sldMkLst>
          <pc:docMk/>
          <pc:sldMk cId="73515290" sldId="6832"/>
        </pc:sldMkLst>
      </pc:sldChg>
      <pc:sldChg chg="del">
        <pc:chgData name="CACERES SANDOVAL, EVA MARIA" userId="efa43ab3-f30d-49e0-8bcf-cbcf637d4549" providerId="ADAL" clId="{C6DC3022-C868-473E-8607-1E4341DC0F28}" dt="2024-05-21T15:30:29.804" v="1" actId="47"/>
        <pc:sldMkLst>
          <pc:docMk/>
          <pc:sldMk cId="757193118" sldId="6833"/>
        </pc:sldMkLst>
      </pc:sldChg>
      <pc:sldChg chg="del">
        <pc:chgData name="CACERES SANDOVAL, EVA MARIA" userId="efa43ab3-f30d-49e0-8bcf-cbcf637d4549" providerId="ADAL" clId="{C6DC3022-C868-473E-8607-1E4341DC0F28}" dt="2024-05-21T15:33:17.154" v="137" actId="47"/>
        <pc:sldMkLst>
          <pc:docMk/>
          <pc:sldMk cId="1626777162" sldId="6834"/>
        </pc:sldMkLst>
      </pc:sldChg>
      <pc:sldChg chg="del">
        <pc:chgData name="CACERES SANDOVAL, EVA MARIA" userId="efa43ab3-f30d-49e0-8bcf-cbcf637d4549" providerId="ADAL" clId="{C6DC3022-C868-473E-8607-1E4341DC0F28}" dt="2024-05-21T15:33:37.450" v="159" actId="47"/>
        <pc:sldMkLst>
          <pc:docMk/>
          <pc:sldMk cId="2146841221" sldId="6835"/>
        </pc:sldMkLst>
      </pc:sldChg>
      <pc:sldChg chg="del">
        <pc:chgData name="CACERES SANDOVAL, EVA MARIA" userId="efa43ab3-f30d-49e0-8bcf-cbcf637d4549" providerId="ADAL" clId="{C6DC3022-C868-473E-8607-1E4341DC0F28}" dt="2024-05-21T15:33:37.450" v="159" actId="47"/>
        <pc:sldMkLst>
          <pc:docMk/>
          <pc:sldMk cId="3769415539" sldId="6836"/>
        </pc:sldMkLst>
      </pc:sldChg>
      <pc:sldChg chg="del">
        <pc:chgData name="CACERES SANDOVAL, EVA MARIA" userId="efa43ab3-f30d-49e0-8bcf-cbcf637d4549" providerId="ADAL" clId="{C6DC3022-C868-473E-8607-1E4341DC0F28}" dt="2024-05-21T15:33:37.450" v="159" actId="47"/>
        <pc:sldMkLst>
          <pc:docMk/>
          <pc:sldMk cId="3212331134" sldId="6837"/>
        </pc:sldMkLst>
      </pc:sldChg>
      <pc:sldChg chg="del">
        <pc:chgData name="CACERES SANDOVAL, EVA MARIA" userId="efa43ab3-f30d-49e0-8bcf-cbcf637d4549" providerId="ADAL" clId="{C6DC3022-C868-473E-8607-1E4341DC0F28}" dt="2024-05-21T15:33:37.450" v="159" actId="47"/>
        <pc:sldMkLst>
          <pc:docMk/>
          <pc:sldMk cId="1476010087" sldId="6838"/>
        </pc:sldMkLst>
      </pc:sldChg>
      <pc:sldChg chg="del">
        <pc:chgData name="CACERES SANDOVAL, EVA MARIA" userId="efa43ab3-f30d-49e0-8bcf-cbcf637d4549" providerId="ADAL" clId="{C6DC3022-C868-473E-8607-1E4341DC0F28}" dt="2024-05-21T15:33:37.450" v="159" actId="47"/>
        <pc:sldMkLst>
          <pc:docMk/>
          <pc:sldMk cId="4068326032" sldId="6839"/>
        </pc:sldMkLst>
      </pc:sldChg>
      <pc:sldChg chg="del">
        <pc:chgData name="CACERES SANDOVAL, EVA MARIA" userId="efa43ab3-f30d-49e0-8bcf-cbcf637d4549" providerId="ADAL" clId="{C6DC3022-C868-473E-8607-1E4341DC0F28}" dt="2024-05-21T15:33:37.450" v="159" actId="47"/>
        <pc:sldMkLst>
          <pc:docMk/>
          <pc:sldMk cId="2773199709" sldId="6840"/>
        </pc:sldMkLst>
      </pc:sldChg>
      <pc:sldChg chg="del">
        <pc:chgData name="CACERES SANDOVAL, EVA MARIA" userId="efa43ab3-f30d-49e0-8bcf-cbcf637d4549" providerId="ADAL" clId="{C6DC3022-C868-473E-8607-1E4341DC0F28}" dt="2024-05-21T15:33:37.450" v="159" actId="47"/>
        <pc:sldMkLst>
          <pc:docMk/>
          <pc:sldMk cId="3909895322" sldId="8122"/>
        </pc:sldMkLst>
      </pc:sldChg>
      <pc:sldChg chg="del">
        <pc:chgData name="CACERES SANDOVAL, EVA MARIA" userId="efa43ab3-f30d-49e0-8bcf-cbcf637d4549" providerId="ADAL" clId="{C6DC3022-C868-473E-8607-1E4341DC0F28}" dt="2024-05-21T15:33:37.450" v="159" actId="47"/>
        <pc:sldMkLst>
          <pc:docMk/>
          <pc:sldMk cId="868708376" sldId="8124"/>
        </pc:sldMkLst>
      </pc:sldChg>
      <pc:sldChg chg="del">
        <pc:chgData name="CACERES SANDOVAL, EVA MARIA" userId="efa43ab3-f30d-49e0-8bcf-cbcf637d4549" providerId="ADAL" clId="{C6DC3022-C868-473E-8607-1E4341DC0F28}" dt="2024-05-21T15:33:37.450" v="159" actId="47"/>
        <pc:sldMkLst>
          <pc:docMk/>
          <pc:sldMk cId="1013133411" sldId="8126"/>
        </pc:sldMkLst>
      </pc:sldChg>
      <pc:sldChg chg="del">
        <pc:chgData name="CACERES SANDOVAL, EVA MARIA" userId="efa43ab3-f30d-49e0-8bcf-cbcf637d4549" providerId="ADAL" clId="{C6DC3022-C868-473E-8607-1E4341DC0F28}" dt="2024-05-21T15:33:37.450" v="159" actId="47"/>
        <pc:sldMkLst>
          <pc:docMk/>
          <pc:sldMk cId="702247926" sldId="8127"/>
        </pc:sldMkLst>
      </pc:sldChg>
      <pc:sldChg chg="del">
        <pc:chgData name="CACERES SANDOVAL, EVA MARIA" userId="efa43ab3-f30d-49e0-8bcf-cbcf637d4549" providerId="ADAL" clId="{C6DC3022-C868-473E-8607-1E4341DC0F28}" dt="2024-05-21T15:33:37.450" v="159" actId="47"/>
        <pc:sldMkLst>
          <pc:docMk/>
          <pc:sldMk cId="182191403" sldId="8128"/>
        </pc:sldMkLst>
      </pc:sldChg>
      <pc:sldChg chg="del">
        <pc:chgData name="CACERES SANDOVAL, EVA MARIA" userId="efa43ab3-f30d-49e0-8bcf-cbcf637d4549" providerId="ADAL" clId="{C6DC3022-C868-473E-8607-1E4341DC0F28}" dt="2024-05-21T15:33:37.450" v="159" actId="47"/>
        <pc:sldMkLst>
          <pc:docMk/>
          <pc:sldMk cId="2382528063" sldId="8129"/>
        </pc:sldMkLst>
      </pc:sldChg>
      <pc:sldChg chg="del">
        <pc:chgData name="CACERES SANDOVAL, EVA MARIA" userId="efa43ab3-f30d-49e0-8bcf-cbcf637d4549" providerId="ADAL" clId="{C6DC3022-C868-473E-8607-1E4341DC0F28}" dt="2024-05-21T15:33:37.450" v="159" actId="47"/>
        <pc:sldMkLst>
          <pc:docMk/>
          <pc:sldMk cId="3370683655" sldId="8130"/>
        </pc:sldMkLst>
      </pc:sldChg>
      <pc:sldChg chg="del">
        <pc:chgData name="CACERES SANDOVAL, EVA MARIA" userId="efa43ab3-f30d-49e0-8bcf-cbcf637d4549" providerId="ADAL" clId="{C6DC3022-C868-473E-8607-1E4341DC0F28}" dt="2024-05-21T15:33:37.450" v="159" actId="47"/>
        <pc:sldMkLst>
          <pc:docMk/>
          <pc:sldMk cId="3605014265" sldId="8131"/>
        </pc:sldMkLst>
      </pc:sldChg>
      <pc:sldChg chg="del">
        <pc:chgData name="CACERES SANDOVAL, EVA MARIA" userId="efa43ab3-f30d-49e0-8bcf-cbcf637d4549" providerId="ADAL" clId="{C6DC3022-C868-473E-8607-1E4341DC0F28}" dt="2024-05-21T15:30:59.811" v="55" actId="47"/>
        <pc:sldMkLst>
          <pc:docMk/>
          <pc:sldMk cId="1182528563" sldId="8132"/>
        </pc:sldMkLst>
      </pc:sldChg>
      <pc:sldChg chg="addSp delSp modSp add mod">
        <pc:chgData name="CACERES SANDOVAL, EVA MARIA" userId="efa43ab3-f30d-49e0-8bcf-cbcf637d4549" providerId="ADAL" clId="{C6DC3022-C868-473E-8607-1E4341DC0F28}" dt="2024-05-24T15:09:58.656" v="2701" actId="14100"/>
        <pc:sldMkLst>
          <pc:docMk/>
          <pc:sldMk cId="4091519663" sldId="8132"/>
        </pc:sldMkLst>
        <pc:spChg chg="del">
          <ac:chgData name="CACERES SANDOVAL, EVA MARIA" userId="efa43ab3-f30d-49e0-8bcf-cbcf637d4549" providerId="ADAL" clId="{C6DC3022-C868-473E-8607-1E4341DC0F28}" dt="2024-05-21T15:33:53.195" v="160" actId="478"/>
          <ac:spMkLst>
            <pc:docMk/>
            <pc:sldMk cId="4091519663" sldId="8132"/>
            <ac:spMk id="3" creationId="{A74000BB-01C3-44BA-816C-04CA7BEBCF72}"/>
          </ac:spMkLst>
        </pc:spChg>
        <pc:spChg chg="del">
          <ac:chgData name="CACERES SANDOVAL, EVA MARIA" userId="efa43ab3-f30d-49e0-8bcf-cbcf637d4549" providerId="ADAL" clId="{C6DC3022-C868-473E-8607-1E4341DC0F28}" dt="2024-05-21T15:34:02.587" v="166" actId="478"/>
          <ac:spMkLst>
            <pc:docMk/>
            <pc:sldMk cId="4091519663" sldId="8132"/>
            <ac:spMk id="6" creationId="{6C1E2C2E-24E6-2DB4-39F5-CB11C3842301}"/>
          </ac:spMkLst>
        </pc:spChg>
        <pc:spChg chg="add del mod">
          <ac:chgData name="CACERES SANDOVAL, EVA MARIA" userId="efa43ab3-f30d-49e0-8bcf-cbcf637d4549" providerId="ADAL" clId="{C6DC3022-C868-473E-8607-1E4341DC0F28}" dt="2024-05-21T15:33:59.195" v="162" actId="478"/>
          <ac:spMkLst>
            <pc:docMk/>
            <pc:sldMk cId="4091519663" sldId="8132"/>
            <ac:spMk id="7" creationId="{653298E9-8D7B-B350-5DF0-2803E1DF8806}"/>
          </ac:spMkLst>
        </pc:spChg>
        <pc:spChg chg="del">
          <ac:chgData name="CACERES SANDOVAL, EVA MARIA" userId="efa43ab3-f30d-49e0-8bcf-cbcf637d4549" providerId="ADAL" clId="{C6DC3022-C868-473E-8607-1E4341DC0F28}" dt="2024-05-21T15:34:02.939" v="167" actId="478"/>
          <ac:spMkLst>
            <pc:docMk/>
            <pc:sldMk cId="4091519663" sldId="8132"/>
            <ac:spMk id="8" creationId="{0C15AD5F-2605-F10F-A40A-B2DCE140072D}"/>
          </ac:spMkLst>
        </pc:spChg>
        <pc:spChg chg="mod">
          <ac:chgData name="CACERES SANDOVAL, EVA MARIA" userId="efa43ab3-f30d-49e0-8bcf-cbcf637d4549" providerId="ADAL" clId="{C6DC3022-C868-473E-8607-1E4341DC0F28}" dt="2024-05-21T18:09:50.554" v="2379" actId="2711"/>
          <ac:spMkLst>
            <pc:docMk/>
            <pc:sldMk cId="4091519663" sldId="8132"/>
            <ac:spMk id="9" creationId="{2CCD0179-02F2-8188-2F3C-5EC85CFAEB28}"/>
          </ac:spMkLst>
        </pc:spChg>
        <pc:spChg chg="del">
          <ac:chgData name="CACERES SANDOVAL, EVA MARIA" userId="efa43ab3-f30d-49e0-8bcf-cbcf637d4549" providerId="ADAL" clId="{C6DC3022-C868-473E-8607-1E4341DC0F28}" dt="2024-05-21T15:34:00.031" v="163" actId="478"/>
          <ac:spMkLst>
            <pc:docMk/>
            <pc:sldMk cId="4091519663" sldId="8132"/>
            <ac:spMk id="11" creationId="{DB2AFE03-F3DA-ED5E-0F58-FB1B85F2393B}"/>
          </ac:spMkLst>
        </pc:spChg>
        <pc:spChg chg="del">
          <ac:chgData name="CACERES SANDOVAL, EVA MARIA" userId="efa43ab3-f30d-49e0-8bcf-cbcf637d4549" providerId="ADAL" clId="{C6DC3022-C868-473E-8607-1E4341DC0F28}" dt="2024-05-21T15:34:00.523" v="164" actId="478"/>
          <ac:spMkLst>
            <pc:docMk/>
            <pc:sldMk cId="4091519663" sldId="8132"/>
            <ac:spMk id="12" creationId="{2A5F4AE4-3F90-D5B0-F07F-FF52C44102BB}"/>
          </ac:spMkLst>
        </pc:spChg>
        <pc:spChg chg="del">
          <ac:chgData name="CACERES SANDOVAL, EVA MARIA" userId="efa43ab3-f30d-49e0-8bcf-cbcf637d4549" providerId="ADAL" clId="{C6DC3022-C868-473E-8607-1E4341DC0F28}" dt="2024-05-21T15:34:01.323" v="165" actId="478"/>
          <ac:spMkLst>
            <pc:docMk/>
            <pc:sldMk cId="4091519663" sldId="8132"/>
            <ac:spMk id="13" creationId="{C8A49855-0EE7-D7DF-868F-8404FC0A1B83}"/>
          </ac:spMkLst>
        </pc:spChg>
        <pc:graphicFrameChg chg="add del mod">
          <ac:chgData name="CACERES SANDOVAL, EVA MARIA" userId="efa43ab3-f30d-49e0-8bcf-cbcf637d4549" providerId="ADAL" clId="{C6DC3022-C868-473E-8607-1E4341DC0F28}" dt="2024-05-21T15:34:57.567" v="173" actId="478"/>
          <ac:graphicFrameMkLst>
            <pc:docMk/>
            <pc:sldMk cId="4091519663" sldId="8132"/>
            <ac:graphicFrameMk id="10" creationId="{4FBD55C8-98D5-58F1-DAD8-B92EA176B0F3}"/>
          </ac:graphicFrameMkLst>
        </pc:graphicFrameChg>
        <pc:graphicFrameChg chg="add del mod modGraphic">
          <ac:chgData name="CACERES SANDOVAL, EVA MARIA" userId="efa43ab3-f30d-49e0-8bcf-cbcf637d4549" providerId="ADAL" clId="{C6DC3022-C868-473E-8607-1E4341DC0F28}" dt="2024-05-23T16:45:36.563" v="2613" actId="478"/>
          <ac:graphicFrameMkLst>
            <pc:docMk/>
            <pc:sldMk cId="4091519663" sldId="8132"/>
            <ac:graphicFrameMk id="14" creationId="{84CECA3C-83C6-E977-6C05-4FDAEE144716}"/>
          </ac:graphicFrameMkLst>
        </pc:graphicFrameChg>
        <pc:picChg chg="add mod">
          <ac:chgData name="CACERES SANDOVAL, EVA MARIA" userId="efa43ab3-f30d-49e0-8bcf-cbcf637d4549" providerId="ADAL" clId="{C6DC3022-C868-473E-8607-1E4341DC0F28}" dt="2024-05-24T15:09:58.656" v="2701" actId="14100"/>
          <ac:picMkLst>
            <pc:docMk/>
            <pc:sldMk cId="4091519663" sldId="8132"/>
            <ac:picMk id="3" creationId="{84C3DAD1-4D89-F3C0-89FD-5F95ADF5F7CD}"/>
          </ac:picMkLst>
        </pc:picChg>
        <pc:picChg chg="del">
          <ac:chgData name="CACERES SANDOVAL, EVA MARIA" userId="efa43ab3-f30d-49e0-8bcf-cbcf637d4549" providerId="ADAL" clId="{C6DC3022-C868-473E-8607-1E4341DC0F28}" dt="2024-05-21T15:33:55.099" v="161" actId="478"/>
          <ac:picMkLst>
            <pc:docMk/>
            <pc:sldMk cId="4091519663" sldId="8132"/>
            <ac:picMk id="5" creationId="{93C84370-A5B6-27F6-2289-75A9510A33EE}"/>
          </ac:picMkLst>
        </pc:picChg>
      </pc:sldChg>
      <pc:sldChg chg="addSp delSp modSp add del mod">
        <pc:chgData name="CACERES SANDOVAL, EVA MARIA" userId="efa43ab3-f30d-49e0-8bcf-cbcf637d4549" providerId="ADAL" clId="{C6DC3022-C868-473E-8607-1E4341DC0F28}" dt="2024-05-23T16:45:56.235" v="2615" actId="47"/>
        <pc:sldMkLst>
          <pc:docMk/>
          <pc:sldMk cId="4240044063" sldId="8133"/>
        </pc:sldMkLst>
        <pc:spChg chg="mod">
          <ac:chgData name="CACERES SANDOVAL, EVA MARIA" userId="efa43ab3-f30d-49e0-8bcf-cbcf637d4549" providerId="ADAL" clId="{C6DC3022-C868-473E-8607-1E4341DC0F28}" dt="2024-05-21T18:09:55.727" v="2380" actId="2711"/>
          <ac:spMkLst>
            <pc:docMk/>
            <pc:sldMk cId="4240044063" sldId="8133"/>
            <ac:spMk id="9" creationId="{2CCD0179-02F2-8188-2F3C-5EC85CFAEB28}"/>
          </ac:spMkLst>
        </pc:spChg>
        <pc:graphicFrameChg chg="add del mod modGraphic">
          <ac:chgData name="CACERES SANDOVAL, EVA MARIA" userId="efa43ab3-f30d-49e0-8bcf-cbcf637d4549" providerId="ADAL" clId="{C6DC3022-C868-473E-8607-1E4341DC0F28}" dt="2024-05-21T15:35:03.437" v="175" actId="478"/>
          <ac:graphicFrameMkLst>
            <pc:docMk/>
            <pc:sldMk cId="4240044063" sldId="8133"/>
            <ac:graphicFrameMk id="2" creationId="{ED5CA5CE-7D8D-4C64-AF2E-63645FA78BE7}"/>
          </ac:graphicFrameMkLst>
        </pc:graphicFrameChg>
        <pc:graphicFrameChg chg="add del mod modGraphic">
          <ac:chgData name="CACERES SANDOVAL, EVA MARIA" userId="efa43ab3-f30d-49e0-8bcf-cbcf637d4549" providerId="ADAL" clId="{C6DC3022-C868-473E-8607-1E4341DC0F28}" dt="2024-05-23T16:45:39.967" v="2614" actId="478"/>
          <ac:graphicFrameMkLst>
            <pc:docMk/>
            <pc:sldMk cId="4240044063" sldId="8133"/>
            <ac:graphicFrameMk id="3" creationId="{192DFCB3-DCA0-0BF4-F63F-A69B590DCDA0}"/>
          </ac:graphicFrameMkLst>
        </pc:graphicFrameChg>
        <pc:graphicFrameChg chg="del">
          <ac:chgData name="CACERES SANDOVAL, EVA MARIA" userId="efa43ab3-f30d-49e0-8bcf-cbcf637d4549" providerId="ADAL" clId="{C6DC3022-C868-473E-8607-1E4341DC0F28}" dt="2024-05-21T15:34:14.866" v="170" actId="478"/>
          <ac:graphicFrameMkLst>
            <pc:docMk/>
            <pc:sldMk cId="4240044063" sldId="8133"/>
            <ac:graphicFrameMk id="10" creationId="{4FBD55C8-98D5-58F1-DAD8-B92EA176B0F3}"/>
          </ac:graphicFrameMkLst>
        </pc:graphicFrameChg>
      </pc:sldChg>
      <pc:sldChg chg="addSp delSp modSp new del mod">
        <pc:chgData name="CACERES SANDOVAL, EVA MARIA" userId="efa43ab3-f30d-49e0-8bcf-cbcf637d4549" providerId="ADAL" clId="{C6DC3022-C868-473E-8607-1E4341DC0F28}" dt="2024-05-21T17:55:28.963" v="2016" actId="47"/>
        <pc:sldMkLst>
          <pc:docMk/>
          <pc:sldMk cId="1453229092" sldId="8134"/>
        </pc:sldMkLst>
        <pc:spChg chg="mod">
          <ac:chgData name="CACERES SANDOVAL, EVA MARIA" userId="efa43ab3-f30d-49e0-8bcf-cbcf637d4549" providerId="ADAL" clId="{C6DC3022-C868-473E-8607-1E4341DC0F28}" dt="2024-05-21T17:03:32.431" v="613" actId="1076"/>
          <ac:spMkLst>
            <pc:docMk/>
            <pc:sldMk cId="1453229092" sldId="8134"/>
            <ac:spMk id="2" creationId="{312E9D93-B206-88B1-ECAF-E8FD75E05592}"/>
          </ac:spMkLst>
        </pc:spChg>
        <pc:spChg chg="del mod">
          <ac:chgData name="CACERES SANDOVAL, EVA MARIA" userId="efa43ab3-f30d-49e0-8bcf-cbcf637d4549" providerId="ADAL" clId="{C6DC3022-C868-473E-8607-1E4341DC0F28}" dt="2024-05-21T17:48:25.726" v="1759" actId="478"/>
          <ac:spMkLst>
            <pc:docMk/>
            <pc:sldMk cId="1453229092" sldId="8134"/>
            <ac:spMk id="3" creationId="{E30E0DC4-D46A-E6B4-9D3D-77B44D0BFD70}"/>
          </ac:spMkLst>
        </pc:spChg>
        <pc:spChg chg="add mod">
          <ac:chgData name="CACERES SANDOVAL, EVA MARIA" userId="efa43ab3-f30d-49e0-8bcf-cbcf637d4549" providerId="ADAL" clId="{C6DC3022-C868-473E-8607-1E4341DC0F28}" dt="2024-05-21T17:48:33.137" v="1762" actId="1076"/>
          <ac:spMkLst>
            <pc:docMk/>
            <pc:sldMk cId="1453229092" sldId="8134"/>
            <ac:spMk id="5" creationId="{70698790-BF8C-80AF-6176-730167FCE3CE}"/>
          </ac:spMkLst>
        </pc:spChg>
        <pc:spChg chg="add mod">
          <ac:chgData name="CACERES SANDOVAL, EVA MARIA" userId="efa43ab3-f30d-49e0-8bcf-cbcf637d4549" providerId="ADAL" clId="{C6DC3022-C868-473E-8607-1E4341DC0F28}" dt="2024-05-21T16:59:55.440" v="594" actId="27636"/>
          <ac:spMkLst>
            <pc:docMk/>
            <pc:sldMk cId="1453229092" sldId="8134"/>
            <ac:spMk id="6" creationId="{26A5E90D-7D37-9046-FA6C-F2C222181058}"/>
          </ac:spMkLst>
        </pc:spChg>
        <pc:spChg chg="add del mod">
          <ac:chgData name="CACERES SANDOVAL, EVA MARIA" userId="efa43ab3-f30d-49e0-8bcf-cbcf637d4549" providerId="ADAL" clId="{C6DC3022-C868-473E-8607-1E4341DC0F28}" dt="2024-05-21T16:52:36.611" v="571" actId="478"/>
          <ac:spMkLst>
            <pc:docMk/>
            <pc:sldMk cId="1453229092" sldId="8134"/>
            <ac:spMk id="7" creationId="{CEF98CEA-1607-6670-3D30-7B6C407614CF}"/>
          </ac:spMkLst>
        </pc:spChg>
        <pc:spChg chg="add mod">
          <ac:chgData name="CACERES SANDOVAL, EVA MARIA" userId="efa43ab3-f30d-49e0-8bcf-cbcf637d4549" providerId="ADAL" clId="{C6DC3022-C868-473E-8607-1E4341DC0F28}" dt="2024-05-21T17:55:23.806" v="2015" actId="20577"/>
          <ac:spMkLst>
            <pc:docMk/>
            <pc:sldMk cId="1453229092" sldId="8134"/>
            <ac:spMk id="15" creationId="{8D2EE550-D829-C168-B26D-0FB4976F7C21}"/>
          </ac:spMkLst>
        </pc:spChg>
        <pc:spChg chg="add del mod">
          <ac:chgData name="CACERES SANDOVAL, EVA MARIA" userId="efa43ab3-f30d-49e0-8bcf-cbcf637d4549" providerId="ADAL" clId="{C6DC3022-C868-473E-8607-1E4341DC0F28}" dt="2024-05-21T17:48:27.298" v="1760" actId="478"/>
          <ac:spMkLst>
            <pc:docMk/>
            <pc:sldMk cId="1453229092" sldId="8134"/>
            <ac:spMk id="17" creationId="{BF731979-41B7-869C-C7AD-73F0F5E7304B}"/>
          </ac:spMkLst>
        </pc:spChg>
        <pc:grpChg chg="add del mod">
          <ac:chgData name="CACERES SANDOVAL, EVA MARIA" userId="efa43ab3-f30d-49e0-8bcf-cbcf637d4549" providerId="ADAL" clId="{C6DC3022-C868-473E-8607-1E4341DC0F28}" dt="2024-05-21T17:48:19.692" v="1757" actId="478"/>
          <ac:grpSpMkLst>
            <pc:docMk/>
            <pc:sldMk cId="1453229092" sldId="8134"/>
            <ac:grpSpMk id="14" creationId="{1329E8E6-D797-FD7F-EEC6-E1DB44726218}"/>
          </ac:grpSpMkLst>
        </pc:grpChg>
        <pc:picChg chg="add del mod topLvl">
          <ac:chgData name="CACERES SANDOVAL, EVA MARIA" userId="efa43ab3-f30d-49e0-8bcf-cbcf637d4549" providerId="ADAL" clId="{C6DC3022-C868-473E-8607-1E4341DC0F28}" dt="2024-05-21T17:48:19.692" v="1757" actId="478"/>
          <ac:picMkLst>
            <pc:docMk/>
            <pc:sldMk cId="1453229092" sldId="8134"/>
            <ac:picMk id="9" creationId="{731DDFFE-56A8-E333-2112-298C40A4F22A}"/>
          </ac:picMkLst>
        </pc:picChg>
        <pc:picChg chg="add del mod topLvl modCrop">
          <ac:chgData name="CACERES SANDOVAL, EVA MARIA" userId="efa43ab3-f30d-49e0-8bcf-cbcf637d4549" providerId="ADAL" clId="{C6DC3022-C868-473E-8607-1E4341DC0F28}" dt="2024-05-21T17:48:21.500" v="1758" actId="478"/>
          <ac:picMkLst>
            <pc:docMk/>
            <pc:sldMk cId="1453229092" sldId="8134"/>
            <ac:picMk id="11" creationId="{DDD538DC-AFB7-FEB5-4E3D-8C8B90A849A6}"/>
          </ac:picMkLst>
        </pc:picChg>
        <pc:picChg chg="add mod">
          <ac:chgData name="CACERES SANDOVAL, EVA MARIA" userId="efa43ab3-f30d-49e0-8bcf-cbcf637d4549" providerId="ADAL" clId="{C6DC3022-C868-473E-8607-1E4341DC0F28}" dt="2024-05-21T17:48:29.605" v="1761" actId="1076"/>
          <ac:picMkLst>
            <pc:docMk/>
            <pc:sldMk cId="1453229092" sldId="8134"/>
            <ac:picMk id="13" creationId="{D91F9047-3841-65D5-43BD-54291F127903}"/>
          </ac:picMkLst>
        </pc:picChg>
        <pc:picChg chg="add mod">
          <ac:chgData name="CACERES SANDOVAL, EVA MARIA" userId="efa43ab3-f30d-49e0-8bcf-cbcf637d4549" providerId="ADAL" clId="{C6DC3022-C868-473E-8607-1E4341DC0F28}" dt="2024-05-21T17:04:04.385" v="621" actId="1076"/>
          <ac:picMkLst>
            <pc:docMk/>
            <pc:sldMk cId="1453229092" sldId="8134"/>
            <ac:picMk id="3074" creationId="{9E8C4EC4-DB1A-D43C-9964-2BD0CB74C9F6}"/>
          </ac:picMkLst>
        </pc:picChg>
        <pc:picChg chg="add mod">
          <ac:chgData name="CACERES SANDOVAL, EVA MARIA" userId="efa43ab3-f30d-49e0-8bcf-cbcf637d4549" providerId="ADAL" clId="{C6DC3022-C868-473E-8607-1E4341DC0F28}" dt="2024-05-21T17:04:02.581" v="620" actId="1076"/>
          <ac:picMkLst>
            <pc:docMk/>
            <pc:sldMk cId="1453229092" sldId="8134"/>
            <ac:picMk id="3076" creationId="{CC475F87-69BB-5218-BCFB-C89908ED60BC}"/>
          </ac:picMkLst>
        </pc:picChg>
      </pc:sldChg>
      <pc:sldChg chg="delSp modSp add del mod">
        <pc:chgData name="CACERES SANDOVAL, EVA MARIA" userId="efa43ab3-f30d-49e0-8bcf-cbcf637d4549" providerId="ADAL" clId="{C6DC3022-C868-473E-8607-1E4341DC0F28}" dt="2024-05-21T15:36:37.439" v="203" actId="47"/>
        <pc:sldMkLst>
          <pc:docMk/>
          <pc:sldMk cId="2303856973" sldId="8134"/>
        </pc:sldMkLst>
        <pc:spChg chg="mod">
          <ac:chgData name="CACERES SANDOVAL, EVA MARIA" userId="efa43ab3-f30d-49e0-8bcf-cbcf637d4549" providerId="ADAL" clId="{C6DC3022-C868-473E-8607-1E4341DC0F28}" dt="2024-05-21T15:36:29.965" v="201" actId="20577"/>
          <ac:spMkLst>
            <pc:docMk/>
            <pc:sldMk cId="2303856973" sldId="8134"/>
            <ac:spMk id="9" creationId="{2CCD0179-02F2-8188-2F3C-5EC85CFAEB28}"/>
          </ac:spMkLst>
        </pc:spChg>
        <pc:graphicFrameChg chg="del">
          <ac:chgData name="CACERES SANDOVAL, EVA MARIA" userId="efa43ab3-f30d-49e0-8bcf-cbcf637d4549" providerId="ADAL" clId="{C6DC3022-C868-473E-8607-1E4341DC0F28}" dt="2024-05-21T15:36:21.567" v="180" actId="478"/>
          <ac:graphicFrameMkLst>
            <pc:docMk/>
            <pc:sldMk cId="2303856973" sldId="8134"/>
            <ac:graphicFrameMk id="3" creationId="{192DFCB3-DCA0-0BF4-F63F-A69B590DCDA0}"/>
          </ac:graphicFrameMkLst>
        </pc:graphicFrameChg>
      </pc:sldChg>
      <pc:sldChg chg="modSp new del mod">
        <pc:chgData name="CACERES SANDOVAL, EVA MARIA" userId="efa43ab3-f30d-49e0-8bcf-cbcf637d4549" providerId="ADAL" clId="{C6DC3022-C868-473E-8607-1E4341DC0F28}" dt="2024-05-21T15:40:21.628" v="306" actId="47"/>
        <pc:sldMkLst>
          <pc:docMk/>
          <pc:sldMk cId="2155636405" sldId="8135"/>
        </pc:sldMkLst>
        <pc:spChg chg="mod">
          <ac:chgData name="CACERES SANDOVAL, EVA MARIA" userId="efa43ab3-f30d-49e0-8bcf-cbcf637d4549" providerId="ADAL" clId="{C6DC3022-C868-473E-8607-1E4341DC0F28}" dt="2024-05-21T15:36:45.255" v="221" actId="207"/>
          <ac:spMkLst>
            <pc:docMk/>
            <pc:sldMk cId="2155636405" sldId="8135"/>
            <ac:spMk id="2" creationId="{719F32C7-FB80-2556-BD9B-1D61999F4AE2}"/>
          </ac:spMkLst>
        </pc:spChg>
        <pc:spChg chg="mod">
          <ac:chgData name="CACERES SANDOVAL, EVA MARIA" userId="efa43ab3-f30d-49e0-8bcf-cbcf637d4549" providerId="ADAL" clId="{C6DC3022-C868-473E-8607-1E4341DC0F28}" dt="2024-05-21T15:37:44.867" v="305" actId="20577"/>
          <ac:spMkLst>
            <pc:docMk/>
            <pc:sldMk cId="2155636405" sldId="8135"/>
            <ac:spMk id="3" creationId="{F4E2F02E-E2FC-3F38-7A3C-CB41BCA56F16}"/>
          </ac:spMkLst>
        </pc:spChg>
      </pc:sldChg>
      <pc:sldChg chg="addSp delSp modSp add mod">
        <pc:chgData name="CACERES SANDOVAL, EVA MARIA" userId="efa43ab3-f30d-49e0-8bcf-cbcf637d4549" providerId="ADAL" clId="{C6DC3022-C868-473E-8607-1E4341DC0F28}" dt="2024-05-24T15:19:11.452" v="2910" actId="1076"/>
        <pc:sldMkLst>
          <pc:docMk/>
          <pc:sldMk cId="4035862276" sldId="8135"/>
        </pc:sldMkLst>
        <pc:spChg chg="mod">
          <ac:chgData name="CACERES SANDOVAL, EVA MARIA" userId="efa43ab3-f30d-49e0-8bcf-cbcf637d4549" providerId="ADAL" clId="{C6DC3022-C868-473E-8607-1E4341DC0F28}" dt="2024-05-21T17:56:56.358" v="2140" actId="1076"/>
          <ac:spMkLst>
            <pc:docMk/>
            <pc:sldMk cId="4035862276" sldId="8135"/>
            <ac:spMk id="3" creationId="{E30E0DC4-D46A-E6B4-9D3D-77B44D0BFD70}"/>
          </ac:spMkLst>
        </pc:spChg>
        <pc:spChg chg="del">
          <ac:chgData name="CACERES SANDOVAL, EVA MARIA" userId="efa43ab3-f30d-49e0-8bcf-cbcf637d4549" providerId="ADAL" clId="{C6DC3022-C868-473E-8607-1E4341DC0F28}" dt="2024-05-21T17:59:55.226" v="2302" actId="478"/>
          <ac:spMkLst>
            <pc:docMk/>
            <pc:sldMk cId="4035862276" sldId="8135"/>
            <ac:spMk id="4" creationId="{24F32948-7BB1-A525-9830-1FA155CEFA19}"/>
          </ac:spMkLst>
        </pc:spChg>
        <pc:spChg chg="mod">
          <ac:chgData name="CACERES SANDOVAL, EVA MARIA" userId="efa43ab3-f30d-49e0-8bcf-cbcf637d4549" providerId="ADAL" clId="{C6DC3022-C868-473E-8607-1E4341DC0F28}" dt="2024-05-21T17:56:59.226" v="2142" actId="1076"/>
          <ac:spMkLst>
            <pc:docMk/>
            <pc:sldMk cId="4035862276" sldId="8135"/>
            <ac:spMk id="5" creationId="{70698790-BF8C-80AF-6176-730167FCE3CE}"/>
          </ac:spMkLst>
        </pc:spChg>
        <pc:spChg chg="mod">
          <ac:chgData name="CACERES SANDOVAL, EVA MARIA" userId="efa43ab3-f30d-49e0-8bcf-cbcf637d4549" providerId="ADAL" clId="{C6DC3022-C868-473E-8607-1E4341DC0F28}" dt="2024-05-21T17:57:40.116" v="2251" actId="6549"/>
          <ac:spMkLst>
            <pc:docMk/>
            <pc:sldMk cId="4035862276" sldId="8135"/>
            <ac:spMk id="6" creationId="{26A5E90D-7D37-9046-FA6C-F2C222181058}"/>
          </ac:spMkLst>
        </pc:spChg>
        <pc:spChg chg="add mod">
          <ac:chgData name="CACERES SANDOVAL, EVA MARIA" userId="efa43ab3-f30d-49e0-8bcf-cbcf637d4549" providerId="ADAL" clId="{C6DC3022-C868-473E-8607-1E4341DC0F28}" dt="2024-05-24T15:18:34.653" v="2898" actId="1076"/>
          <ac:spMkLst>
            <pc:docMk/>
            <pc:sldMk cId="4035862276" sldId="8135"/>
            <ac:spMk id="7" creationId="{91444E16-CE77-D9BA-DDE3-F495990242A3}"/>
          </ac:spMkLst>
        </pc:spChg>
        <pc:spChg chg="add mod">
          <ac:chgData name="CACERES SANDOVAL, EVA MARIA" userId="efa43ab3-f30d-49e0-8bcf-cbcf637d4549" providerId="ADAL" clId="{C6DC3022-C868-473E-8607-1E4341DC0F28}" dt="2024-05-24T15:19:10.613" v="2909" actId="1076"/>
          <ac:spMkLst>
            <pc:docMk/>
            <pc:sldMk cId="4035862276" sldId="8135"/>
            <ac:spMk id="8" creationId="{25F2B63D-D57B-B0B1-1F28-11ABCD2DDC39}"/>
          </ac:spMkLst>
        </pc:spChg>
        <pc:spChg chg="add del">
          <ac:chgData name="CACERES SANDOVAL, EVA MARIA" userId="efa43ab3-f30d-49e0-8bcf-cbcf637d4549" providerId="ADAL" clId="{C6DC3022-C868-473E-8607-1E4341DC0F28}" dt="2024-05-21T17:59:28.474" v="2292" actId="478"/>
          <ac:spMkLst>
            <pc:docMk/>
            <pc:sldMk cId="4035862276" sldId="8135"/>
            <ac:spMk id="12" creationId="{730A97BE-2031-A9F1-3C3B-851E45B37894}"/>
          </ac:spMkLst>
        </pc:spChg>
        <pc:spChg chg="mod">
          <ac:chgData name="CACERES SANDOVAL, EVA MARIA" userId="efa43ab3-f30d-49e0-8bcf-cbcf637d4549" providerId="ADAL" clId="{C6DC3022-C868-473E-8607-1E4341DC0F28}" dt="2024-05-21T18:12:01.664" v="2522" actId="2711"/>
          <ac:spMkLst>
            <pc:docMk/>
            <pc:sldMk cId="4035862276" sldId="8135"/>
            <ac:spMk id="15" creationId="{8D2EE550-D829-C168-B26D-0FB4976F7C21}"/>
          </ac:spMkLst>
        </pc:spChg>
        <pc:grpChg chg="mod">
          <ac:chgData name="CACERES SANDOVAL, EVA MARIA" userId="efa43ab3-f30d-49e0-8bcf-cbcf637d4549" providerId="ADAL" clId="{C6DC3022-C868-473E-8607-1E4341DC0F28}" dt="2024-05-21T17:56:57.388" v="2141" actId="1076"/>
          <ac:grpSpMkLst>
            <pc:docMk/>
            <pc:sldMk cId="4035862276" sldId="8135"/>
            <ac:grpSpMk id="14" creationId="{1329E8E6-D797-FD7F-EEC6-E1DB44726218}"/>
          </ac:grpSpMkLst>
        </pc:grpChg>
        <pc:grpChg chg="add mod">
          <ac:chgData name="CACERES SANDOVAL, EVA MARIA" userId="efa43ab3-f30d-49e0-8bcf-cbcf637d4549" providerId="ADAL" clId="{C6DC3022-C868-473E-8607-1E4341DC0F28}" dt="2024-05-24T15:18:32.704" v="2897" actId="1076"/>
          <ac:grpSpMkLst>
            <pc:docMk/>
            <pc:sldMk cId="4035862276" sldId="8135"/>
            <ac:grpSpMk id="26" creationId="{469A55C9-54D5-A40A-FC23-5AED4B200043}"/>
          </ac:grpSpMkLst>
        </pc:grpChg>
        <pc:picChg chg="mod">
          <ac:chgData name="CACERES SANDOVAL, EVA MARIA" userId="efa43ab3-f30d-49e0-8bcf-cbcf637d4549" providerId="ADAL" clId="{C6DC3022-C868-473E-8607-1E4341DC0F28}" dt="2024-05-21T17:57:00.594" v="2143" actId="1076"/>
          <ac:picMkLst>
            <pc:docMk/>
            <pc:sldMk cId="4035862276" sldId="8135"/>
            <ac:picMk id="13" creationId="{D91F9047-3841-65D5-43BD-54291F127903}"/>
          </ac:picMkLst>
        </pc:picChg>
        <pc:picChg chg="add mod">
          <ac:chgData name="CACERES SANDOVAL, EVA MARIA" userId="efa43ab3-f30d-49e0-8bcf-cbcf637d4549" providerId="ADAL" clId="{C6DC3022-C868-473E-8607-1E4341DC0F28}" dt="2024-05-24T15:19:11.452" v="2910" actId="1076"/>
          <ac:picMkLst>
            <pc:docMk/>
            <pc:sldMk cId="4035862276" sldId="8135"/>
            <ac:picMk id="17" creationId="{09AAA2C8-98F0-1EFE-D04F-A7EAF7FAF964}"/>
          </ac:picMkLst>
        </pc:picChg>
        <pc:picChg chg="add mod modCrop">
          <ac:chgData name="CACERES SANDOVAL, EVA MARIA" userId="efa43ab3-f30d-49e0-8bcf-cbcf637d4549" providerId="ADAL" clId="{C6DC3022-C868-473E-8607-1E4341DC0F28}" dt="2024-05-22T19:01:36.651" v="2529" actId="164"/>
          <ac:picMkLst>
            <pc:docMk/>
            <pc:sldMk cId="4035862276" sldId="8135"/>
            <ac:picMk id="19" creationId="{83F58629-0C97-6A31-BC5E-746548926EB1}"/>
          </ac:picMkLst>
        </pc:picChg>
        <pc:picChg chg="add mod">
          <ac:chgData name="CACERES SANDOVAL, EVA MARIA" userId="efa43ab3-f30d-49e0-8bcf-cbcf637d4549" providerId="ADAL" clId="{C6DC3022-C868-473E-8607-1E4341DC0F28}" dt="2024-05-22T19:01:36.651" v="2529" actId="164"/>
          <ac:picMkLst>
            <pc:docMk/>
            <pc:sldMk cId="4035862276" sldId="8135"/>
            <ac:picMk id="21" creationId="{095F616C-A572-E66F-3348-7CFDF6DFE93C}"/>
          </ac:picMkLst>
        </pc:picChg>
        <pc:picChg chg="add mod ord">
          <ac:chgData name="CACERES SANDOVAL, EVA MARIA" userId="efa43ab3-f30d-49e0-8bcf-cbcf637d4549" providerId="ADAL" clId="{C6DC3022-C868-473E-8607-1E4341DC0F28}" dt="2024-05-22T19:01:36.651" v="2529" actId="164"/>
          <ac:picMkLst>
            <pc:docMk/>
            <pc:sldMk cId="4035862276" sldId="8135"/>
            <ac:picMk id="23" creationId="{E29BBABA-4E1D-6CF6-2619-624800491E0A}"/>
          </ac:picMkLst>
        </pc:picChg>
        <pc:picChg chg="add mod ord">
          <ac:chgData name="CACERES SANDOVAL, EVA MARIA" userId="efa43ab3-f30d-49e0-8bcf-cbcf637d4549" providerId="ADAL" clId="{C6DC3022-C868-473E-8607-1E4341DC0F28}" dt="2024-05-22T19:01:36.651" v="2529" actId="164"/>
          <ac:picMkLst>
            <pc:docMk/>
            <pc:sldMk cId="4035862276" sldId="8135"/>
            <ac:picMk id="25" creationId="{3A634DE9-CAD4-CDA3-1922-93ED013358D2}"/>
          </ac:picMkLst>
        </pc:picChg>
        <pc:picChg chg="add mod">
          <ac:chgData name="CACERES SANDOVAL, EVA MARIA" userId="efa43ab3-f30d-49e0-8bcf-cbcf637d4549" providerId="ADAL" clId="{C6DC3022-C868-473E-8607-1E4341DC0F28}" dt="2024-05-22T19:02:29.986" v="2536" actId="732"/>
          <ac:picMkLst>
            <pc:docMk/>
            <pc:sldMk cId="4035862276" sldId="8135"/>
            <ac:picMk id="27" creationId="{B2EDCE08-D79E-2795-7FCC-E23FF58972D8}"/>
          </ac:picMkLst>
        </pc:picChg>
        <pc:picChg chg="mod">
          <ac:chgData name="CACERES SANDOVAL, EVA MARIA" userId="efa43ab3-f30d-49e0-8bcf-cbcf637d4549" providerId="ADAL" clId="{C6DC3022-C868-473E-8607-1E4341DC0F28}" dt="2024-05-22T19:02:35.802" v="2537" actId="732"/>
          <ac:picMkLst>
            <pc:docMk/>
            <pc:sldMk cId="4035862276" sldId="8135"/>
            <ac:picMk id="3074" creationId="{9E8C4EC4-DB1A-D43C-9964-2BD0CB74C9F6}"/>
          </ac:picMkLst>
        </pc:picChg>
        <pc:picChg chg="del mod">
          <ac:chgData name="CACERES SANDOVAL, EVA MARIA" userId="efa43ab3-f30d-49e0-8bcf-cbcf637d4549" providerId="ADAL" clId="{C6DC3022-C868-473E-8607-1E4341DC0F28}" dt="2024-05-24T15:19:04.389" v="2906" actId="478"/>
          <ac:picMkLst>
            <pc:docMk/>
            <pc:sldMk cId="4035862276" sldId="8135"/>
            <ac:picMk id="3076" creationId="{CC475F87-69BB-5218-BCFB-C89908ED60BC}"/>
          </ac:picMkLst>
        </pc:picChg>
      </pc:sldChg>
      <pc:sldChg chg="modSp add mod">
        <pc:chgData name="CACERES SANDOVAL, EVA MARIA" userId="efa43ab3-f30d-49e0-8bcf-cbcf637d4549" providerId="ADAL" clId="{C6DC3022-C868-473E-8607-1E4341DC0F28}" dt="2024-05-21T18:10:41.582" v="2435" actId="20577"/>
        <pc:sldMkLst>
          <pc:docMk/>
          <pc:sldMk cId="1678311024" sldId="8136"/>
        </pc:sldMkLst>
        <pc:spChg chg="mod">
          <ac:chgData name="CACERES SANDOVAL, EVA MARIA" userId="efa43ab3-f30d-49e0-8bcf-cbcf637d4549" providerId="ADAL" clId="{C6DC3022-C868-473E-8607-1E4341DC0F28}" dt="2024-05-21T18:10:41.582" v="2435" actId="20577"/>
          <ac:spMkLst>
            <pc:docMk/>
            <pc:sldMk cId="1678311024" sldId="8136"/>
            <ac:spMk id="2" creationId="{9E35DCEA-11FB-375E-BA08-3B2B59711278}"/>
          </ac:spMkLst>
        </pc:spChg>
      </pc:sldChg>
      <pc:sldChg chg="delSp modSp add mod">
        <pc:chgData name="CACERES SANDOVAL, EVA MARIA" userId="efa43ab3-f30d-49e0-8bcf-cbcf637d4549" providerId="ADAL" clId="{C6DC3022-C868-473E-8607-1E4341DC0F28}" dt="2024-05-21T18:11:22.253" v="2484" actId="1076"/>
        <pc:sldMkLst>
          <pc:docMk/>
          <pc:sldMk cId="1685050724" sldId="8137"/>
        </pc:sldMkLst>
        <pc:spChg chg="mod">
          <ac:chgData name="CACERES SANDOVAL, EVA MARIA" userId="efa43ab3-f30d-49e0-8bcf-cbcf637d4549" providerId="ADAL" clId="{C6DC3022-C868-473E-8607-1E4341DC0F28}" dt="2024-05-21T18:11:22.253" v="2484" actId="1076"/>
          <ac:spMkLst>
            <pc:docMk/>
            <pc:sldMk cId="1685050724" sldId="8137"/>
            <ac:spMk id="2" creationId="{9E35DCEA-11FB-375E-BA08-3B2B59711278}"/>
          </ac:spMkLst>
        </pc:spChg>
        <pc:spChg chg="del">
          <ac:chgData name="CACERES SANDOVAL, EVA MARIA" userId="efa43ab3-f30d-49e0-8bcf-cbcf637d4549" providerId="ADAL" clId="{C6DC3022-C868-473E-8607-1E4341DC0F28}" dt="2024-05-21T18:11:17.177" v="2482" actId="478"/>
          <ac:spMkLst>
            <pc:docMk/>
            <pc:sldMk cId="1685050724" sldId="8137"/>
            <ac:spMk id="4" creationId="{19A7A5CC-C7F1-1A88-CF54-31D5B8150FAD}"/>
          </ac:spMkLst>
        </pc:spChg>
      </pc:sldChg>
      <pc:sldChg chg="modSp add mod">
        <pc:chgData name="CACERES SANDOVAL, EVA MARIA" userId="efa43ab3-f30d-49e0-8bcf-cbcf637d4549" providerId="ADAL" clId="{C6DC3022-C868-473E-8607-1E4341DC0F28}" dt="2024-05-21T18:11:42.393" v="2520" actId="20577"/>
        <pc:sldMkLst>
          <pc:docMk/>
          <pc:sldMk cId="3730763728" sldId="8138"/>
        </pc:sldMkLst>
        <pc:spChg chg="mod">
          <ac:chgData name="CACERES SANDOVAL, EVA MARIA" userId="efa43ab3-f30d-49e0-8bcf-cbcf637d4549" providerId="ADAL" clId="{C6DC3022-C868-473E-8607-1E4341DC0F28}" dt="2024-05-21T18:11:42.393" v="2520" actId="20577"/>
          <ac:spMkLst>
            <pc:docMk/>
            <pc:sldMk cId="3730763728" sldId="8138"/>
            <ac:spMk id="2" creationId="{9E35DCEA-11FB-375E-BA08-3B2B59711278}"/>
          </ac:spMkLst>
        </pc:spChg>
      </pc:sldChg>
      <pc:sldChg chg="addSp delSp modSp add mod">
        <pc:chgData name="CACERES SANDOVAL, EVA MARIA" userId="efa43ab3-f30d-49e0-8bcf-cbcf637d4549" providerId="ADAL" clId="{C6DC3022-C868-473E-8607-1E4341DC0F28}" dt="2024-05-27T13:42:35.219" v="3485" actId="20577"/>
        <pc:sldMkLst>
          <pc:docMk/>
          <pc:sldMk cId="337739276" sldId="8139"/>
        </pc:sldMkLst>
        <pc:spChg chg="mod">
          <ac:chgData name="CACERES SANDOVAL, EVA MARIA" userId="efa43ab3-f30d-49e0-8bcf-cbcf637d4549" providerId="ADAL" clId="{C6DC3022-C868-473E-8607-1E4341DC0F28}" dt="2024-05-23T16:54:18.057" v="2655" actId="20577"/>
          <ac:spMkLst>
            <pc:docMk/>
            <pc:sldMk cId="337739276" sldId="8139"/>
            <ac:spMk id="2" creationId="{D911260F-ED60-62A5-2257-68DDA3BCA723}"/>
          </ac:spMkLst>
        </pc:spChg>
        <pc:spChg chg="add mod">
          <ac:chgData name="CACERES SANDOVAL, EVA MARIA" userId="efa43ab3-f30d-49e0-8bcf-cbcf637d4549" providerId="ADAL" clId="{C6DC3022-C868-473E-8607-1E4341DC0F28}" dt="2024-05-27T13:42:35.219" v="3485" actId="20577"/>
          <ac:spMkLst>
            <pc:docMk/>
            <pc:sldMk cId="337739276" sldId="8139"/>
            <ac:spMk id="3" creationId="{D4EA0171-59E8-2430-1C71-4BA8CA47F476}"/>
          </ac:spMkLst>
        </pc:spChg>
        <pc:spChg chg="mod">
          <ac:chgData name="CACERES SANDOVAL, EVA MARIA" userId="efa43ab3-f30d-49e0-8bcf-cbcf637d4549" providerId="ADAL" clId="{C6DC3022-C868-473E-8607-1E4341DC0F28}" dt="2024-05-24T15:23:28.737" v="2923"/>
          <ac:spMkLst>
            <pc:docMk/>
            <pc:sldMk cId="337739276" sldId="8139"/>
            <ac:spMk id="9" creationId="{880F1251-9487-A28F-21FD-85A1D2A31ACD}"/>
          </ac:spMkLst>
        </pc:spChg>
        <pc:picChg chg="add mod ord">
          <ac:chgData name="CACERES SANDOVAL, EVA MARIA" userId="efa43ab3-f30d-49e0-8bcf-cbcf637d4549" providerId="ADAL" clId="{C6DC3022-C868-473E-8607-1E4341DC0F28}" dt="2024-05-24T15:20:43.009" v="2922" actId="1076"/>
          <ac:picMkLst>
            <pc:docMk/>
            <pc:sldMk cId="337739276" sldId="8139"/>
            <ac:picMk id="5" creationId="{3680FE3C-BAA9-E9AA-638B-455ADEBF457A}"/>
          </ac:picMkLst>
        </pc:picChg>
        <pc:picChg chg="add del mod">
          <ac:chgData name="CACERES SANDOVAL, EVA MARIA" userId="efa43ab3-f30d-49e0-8bcf-cbcf637d4549" providerId="ADAL" clId="{C6DC3022-C868-473E-8607-1E4341DC0F28}" dt="2024-05-23T20:28:52.471" v="2692" actId="478"/>
          <ac:picMkLst>
            <pc:docMk/>
            <pc:sldMk cId="337739276" sldId="8139"/>
            <ac:picMk id="5" creationId="{E69A69C3-F965-AD9A-B6AA-81BA487BECF8}"/>
          </ac:picMkLst>
        </pc:picChg>
        <pc:picChg chg="add mod">
          <ac:chgData name="CACERES SANDOVAL, EVA MARIA" userId="efa43ab3-f30d-49e0-8bcf-cbcf637d4549" providerId="ADAL" clId="{C6DC3022-C868-473E-8607-1E4341DC0F28}" dt="2024-05-24T15:20:41.073" v="2921" actId="14100"/>
          <ac:picMkLst>
            <pc:docMk/>
            <pc:sldMk cId="337739276" sldId="8139"/>
            <ac:picMk id="7" creationId="{8CDC1D37-175C-478F-8CD4-08C35CB1C16D}"/>
          </ac:picMkLst>
        </pc:picChg>
        <pc:picChg chg="del">
          <ac:chgData name="CACERES SANDOVAL, EVA MARIA" userId="efa43ab3-f30d-49e0-8bcf-cbcf637d4549" providerId="ADAL" clId="{C6DC3022-C868-473E-8607-1E4341DC0F28}" dt="2024-05-23T16:54:20.172" v="2656" actId="478"/>
          <ac:picMkLst>
            <pc:docMk/>
            <pc:sldMk cId="337739276" sldId="8139"/>
            <ac:picMk id="10" creationId="{109DD856-49C9-6B93-3B66-37813DE774E0}"/>
          </ac:picMkLst>
        </pc:picChg>
      </pc:sldChg>
      <pc:sldChg chg="addSp delSp modSp add mod">
        <pc:chgData name="CACERES SANDOVAL, EVA MARIA" userId="efa43ab3-f30d-49e0-8bcf-cbcf637d4549" providerId="ADAL" clId="{C6DC3022-C868-473E-8607-1E4341DC0F28}" dt="2024-05-27T13:39:28.351" v="3237" actId="20577"/>
        <pc:sldMkLst>
          <pc:docMk/>
          <pc:sldMk cId="2295889513" sldId="8140"/>
        </pc:sldMkLst>
        <pc:spChg chg="del">
          <ac:chgData name="CACERES SANDOVAL, EVA MARIA" userId="efa43ab3-f30d-49e0-8bcf-cbcf637d4549" providerId="ADAL" clId="{C6DC3022-C868-473E-8607-1E4341DC0F28}" dt="2024-05-27T13:32:25.931" v="3014" actId="21"/>
          <ac:spMkLst>
            <pc:docMk/>
            <pc:sldMk cId="2295889513" sldId="8140"/>
            <ac:spMk id="3" creationId="{6C92EECB-5F7C-A4ED-2230-B3801B9DC324}"/>
          </ac:spMkLst>
        </pc:spChg>
        <pc:spChg chg="add mod">
          <ac:chgData name="CACERES SANDOVAL, EVA MARIA" userId="efa43ab3-f30d-49e0-8bcf-cbcf637d4549" providerId="ADAL" clId="{C6DC3022-C868-473E-8607-1E4341DC0F28}" dt="2024-05-27T13:34:10.345" v="3074" actId="6549"/>
          <ac:spMkLst>
            <pc:docMk/>
            <pc:sldMk cId="2295889513" sldId="8140"/>
            <ac:spMk id="6" creationId="{92F71475-9001-C750-BEAA-5C88FF41F101}"/>
          </ac:spMkLst>
        </pc:spChg>
        <pc:spChg chg="add mod">
          <ac:chgData name="CACERES SANDOVAL, EVA MARIA" userId="efa43ab3-f30d-49e0-8bcf-cbcf637d4549" providerId="ADAL" clId="{C6DC3022-C868-473E-8607-1E4341DC0F28}" dt="2024-05-27T13:35:01.542" v="3186" actId="1076"/>
          <ac:spMkLst>
            <pc:docMk/>
            <pc:sldMk cId="2295889513" sldId="8140"/>
            <ac:spMk id="7" creationId="{5DC03A54-C49D-B7D1-0D5A-76AE2C4C6B10}"/>
          </ac:spMkLst>
        </pc:spChg>
        <pc:spChg chg="add mod">
          <ac:chgData name="CACERES SANDOVAL, EVA MARIA" userId="efa43ab3-f30d-49e0-8bcf-cbcf637d4549" providerId="ADAL" clId="{C6DC3022-C868-473E-8607-1E4341DC0F28}" dt="2024-05-27T13:35:41.826" v="3190" actId="13822"/>
          <ac:spMkLst>
            <pc:docMk/>
            <pc:sldMk cId="2295889513" sldId="8140"/>
            <ac:spMk id="8" creationId="{359C9F10-D299-E7D4-F1ED-15D0B8E9EF39}"/>
          </ac:spMkLst>
        </pc:spChg>
        <pc:spChg chg="add mod">
          <ac:chgData name="CACERES SANDOVAL, EVA MARIA" userId="efa43ab3-f30d-49e0-8bcf-cbcf637d4549" providerId="ADAL" clId="{C6DC3022-C868-473E-8607-1E4341DC0F28}" dt="2024-05-27T13:39:23.549" v="3229" actId="1076"/>
          <ac:spMkLst>
            <pc:docMk/>
            <pc:sldMk cId="2295889513" sldId="8140"/>
            <ac:spMk id="9" creationId="{37228D2B-891F-BDA1-108C-4AAC69BCB50A}"/>
          </ac:spMkLst>
        </pc:spChg>
        <pc:spChg chg="add mod">
          <ac:chgData name="CACERES SANDOVAL, EVA MARIA" userId="efa43ab3-f30d-49e0-8bcf-cbcf637d4549" providerId="ADAL" clId="{C6DC3022-C868-473E-8607-1E4341DC0F28}" dt="2024-05-27T13:39:28.351" v="3237" actId="20577"/>
          <ac:spMkLst>
            <pc:docMk/>
            <pc:sldMk cId="2295889513" sldId="8140"/>
            <ac:spMk id="12" creationId="{5D0D2EB2-5471-0E9A-1077-E87ACE70AF64}"/>
          </ac:spMkLst>
        </pc:spChg>
        <pc:spChg chg="del">
          <ac:chgData name="CACERES SANDOVAL, EVA MARIA" userId="efa43ab3-f30d-49e0-8bcf-cbcf637d4549" providerId="ADAL" clId="{C6DC3022-C868-473E-8607-1E4341DC0F28}" dt="2024-05-27T13:32:35.887" v="3018" actId="478"/>
          <ac:spMkLst>
            <pc:docMk/>
            <pc:sldMk cId="2295889513" sldId="8140"/>
            <ac:spMk id="17" creationId="{2F1D8672-4D91-CDB6-8FFF-8DDBD730B453}"/>
          </ac:spMkLst>
        </pc:spChg>
        <pc:picChg chg="del">
          <ac:chgData name="CACERES SANDOVAL, EVA MARIA" userId="efa43ab3-f30d-49e0-8bcf-cbcf637d4549" providerId="ADAL" clId="{C6DC3022-C868-473E-8607-1E4341DC0F28}" dt="2024-05-27T13:32:28.659" v="3015" actId="478"/>
          <ac:picMkLst>
            <pc:docMk/>
            <pc:sldMk cId="2295889513" sldId="8140"/>
            <ac:picMk id="5" creationId="{353E1655-042C-6893-4B00-4C745212DD70}"/>
          </ac:picMkLst>
        </pc:picChg>
        <pc:picChg chg="del">
          <ac:chgData name="CACERES SANDOVAL, EVA MARIA" userId="efa43ab3-f30d-49e0-8bcf-cbcf637d4549" providerId="ADAL" clId="{C6DC3022-C868-473E-8607-1E4341DC0F28}" dt="2024-05-27T13:32:37.856" v="3019" actId="478"/>
          <ac:picMkLst>
            <pc:docMk/>
            <pc:sldMk cId="2295889513" sldId="8140"/>
            <ac:picMk id="11" creationId="{C4ED754C-E6A1-13E7-5DF6-79F90B0FB746}"/>
          </ac:picMkLst>
        </pc:picChg>
        <pc:picChg chg="mod">
          <ac:chgData name="CACERES SANDOVAL, EVA MARIA" userId="efa43ab3-f30d-49e0-8bcf-cbcf637d4549" providerId="ADAL" clId="{C6DC3022-C868-473E-8607-1E4341DC0F28}" dt="2024-05-27T13:35:02.791" v="3187" actId="1076"/>
          <ac:picMkLst>
            <pc:docMk/>
            <pc:sldMk cId="2295889513" sldId="8140"/>
            <ac:picMk id="1026" creationId="{453CE0D0-8DF5-B187-3D34-C1B2B029A8DA}"/>
          </ac:picMkLst>
        </pc:picChg>
        <pc:picChg chg="add mod">
          <ac:chgData name="CACERES SANDOVAL, EVA MARIA" userId="efa43ab3-f30d-49e0-8bcf-cbcf637d4549" providerId="ADAL" clId="{C6DC3022-C868-473E-8607-1E4341DC0F28}" dt="2024-05-27T13:38:47.028" v="3199" actId="1076"/>
          <ac:picMkLst>
            <pc:docMk/>
            <pc:sldMk cId="2295889513" sldId="8140"/>
            <ac:picMk id="2050" creationId="{9F3541EE-C0A1-A40B-783B-68F1D23B64F2}"/>
          </ac:picMkLst>
        </pc:picChg>
        <pc:cxnChg chg="add mod">
          <ac:chgData name="CACERES SANDOVAL, EVA MARIA" userId="efa43ab3-f30d-49e0-8bcf-cbcf637d4549" providerId="ADAL" clId="{C6DC3022-C868-473E-8607-1E4341DC0F28}" dt="2024-05-27T13:39:23.549" v="3229" actId="1076"/>
          <ac:cxnSpMkLst>
            <pc:docMk/>
            <pc:sldMk cId="2295889513" sldId="8140"/>
            <ac:cxnSpMk id="10" creationId="{72AC4357-33DB-0FE9-5E39-E2D31BEACE62}"/>
          </ac:cxnSpMkLst>
        </pc:cxnChg>
      </pc:sldChg>
      <pc:sldChg chg="addSp delSp modSp add del mod">
        <pc:chgData name="CACERES SANDOVAL, EVA MARIA" userId="efa43ab3-f30d-49e0-8bcf-cbcf637d4549" providerId="ADAL" clId="{C6DC3022-C868-473E-8607-1E4341DC0F28}" dt="2024-05-27T13:42:12.565" v="3476" actId="47"/>
        <pc:sldMkLst>
          <pc:docMk/>
          <pc:sldMk cId="2910982784" sldId="8141"/>
        </pc:sldMkLst>
        <pc:spChg chg="del mod">
          <ac:chgData name="CACERES SANDOVAL, EVA MARIA" userId="efa43ab3-f30d-49e0-8bcf-cbcf637d4549" providerId="ADAL" clId="{C6DC3022-C868-473E-8607-1E4341DC0F28}" dt="2024-05-27T13:41:53.900" v="3468" actId="21"/>
          <ac:spMkLst>
            <pc:docMk/>
            <pc:sldMk cId="2910982784" sldId="8141"/>
            <ac:spMk id="17" creationId="{2F1D8672-4D91-CDB6-8FFF-8DDBD730B453}"/>
          </ac:spMkLst>
        </pc:spChg>
        <pc:picChg chg="add del mod">
          <ac:chgData name="CACERES SANDOVAL, EVA MARIA" userId="efa43ab3-f30d-49e0-8bcf-cbcf637d4549" providerId="ADAL" clId="{C6DC3022-C868-473E-8607-1E4341DC0F28}" dt="2024-05-27T13:42:10.814" v="3475" actId="478"/>
          <ac:picMkLst>
            <pc:docMk/>
            <pc:sldMk cId="2910982784" sldId="8141"/>
            <ac:picMk id="3" creationId="{FEA6279F-E884-37FB-1F76-BEDCFBAAAA1A}"/>
          </ac:picMkLst>
        </pc:picChg>
        <pc:picChg chg="del">
          <ac:chgData name="CACERES SANDOVAL, EVA MARIA" userId="efa43ab3-f30d-49e0-8bcf-cbcf637d4549" providerId="ADAL" clId="{C6DC3022-C868-473E-8607-1E4341DC0F28}" dt="2024-05-27T13:40:14.435" v="3239" actId="478"/>
          <ac:picMkLst>
            <pc:docMk/>
            <pc:sldMk cId="2910982784" sldId="8141"/>
            <ac:picMk id="5" creationId="{353E1655-042C-6893-4B00-4C745212DD70}"/>
          </ac:picMkLst>
        </pc:picChg>
        <pc:picChg chg="del">
          <ac:chgData name="CACERES SANDOVAL, EVA MARIA" userId="efa43ab3-f30d-49e0-8bcf-cbcf637d4549" providerId="ADAL" clId="{C6DC3022-C868-473E-8607-1E4341DC0F28}" dt="2024-05-27T13:40:16.037" v="3240" actId="478"/>
          <ac:picMkLst>
            <pc:docMk/>
            <pc:sldMk cId="2910982784" sldId="8141"/>
            <ac:picMk id="11" creationId="{C4ED754C-E6A1-13E7-5DF6-79F90B0FB746}"/>
          </ac:picMkLst>
        </pc:picChg>
      </pc:sldChg>
      <pc:sldMasterChg chg="delSldLayout">
        <pc:chgData name="CACERES SANDOVAL, EVA MARIA" userId="efa43ab3-f30d-49e0-8bcf-cbcf637d4549" providerId="ADAL" clId="{C6DC3022-C868-473E-8607-1E4341DC0F28}" dt="2024-05-21T15:33:37.450" v="159" actId="47"/>
        <pc:sldMasterMkLst>
          <pc:docMk/>
          <pc:sldMasterMk cId="2530762699" sldId="2147483701"/>
        </pc:sldMasterMkLst>
        <pc:sldLayoutChg chg="del">
          <pc:chgData name="CACERES SANDOVAL, EVA MARIA" userId="efa43ab3-f30d-49e0-8bcf-cbcf637d4549" providerId="ADAL" clId="{C6DC3022-C868-473E-8607-1E4341DC0F28}" dt="2024-05-21T15:30:16.309" v="0" actId="47"/>
          <pc:sldLayoutMkLst>
            <pc:docMk/>
            <pc:sldMasterMk cId="2530762699" sldId="2147483701"/>
            <pc:sldLayoutMk cId="1272049471" sldId="2147483764"/>
          </pc:sldLayoutMkLst>
        </pc:sldLayoutChg>
        <pc:sldLayoutChg chg="del">
          <pc:chgData name="CACERES SANDOVAL, EVA MARIA" userId="efa43ab3-f30d-49e0-8bcf-cbcf637d4549" providerId="ADAL" clId="{C6DC3022-C868-473E-8607-1E4341DC0F28}" dt="2024-05-21T15:33:37.450" v="159" actId="47"/>
          <pc:sldLayoutMkLst>
            <pc:docMk/>
            <pc:sldMasterMk cId="2530762699" sldId="2147483701"/>
            <pc:sldLayoutMk cId="3490643478" sldId="2147483765"/>
          </pc:sldLayoutMkLst>
        </pc:sldLayoutChg>
        <pc:sldLayoutChg chg="del">
          <pc:chgData name="CACERES SANDOVAL, EVA MARIA" userId="efa43ab3-f30d-49e0-8bcf-cbcf637d4549" providerId="ADAL" clId="{C6DC3022-C868-473E-8607-1E4341DC0F28}" dt="2024-05-21T15:33:37.450" v="159" actId="47"/>
          <pc:sldLayoutMkLst>
            <pc:docMk/>
            <pc:sldMasterMk cId="2530762699" sldId="2147483701"/>
            <pc:sldLayoutMk cId="2501439538" sldId="2147483766"/>
          </pc:sldLayoutMkLst>
        </pc:sldLayoutChg>
        <pc:sldLayoutChg chg="del">
          <pc:chgData name="CACERES SANDOVAL, EVA MARIA" userId="efa43ab3-f30d-49e0-8bcf-cbcf637d4549" providerId="ADAL" clId="{C6DC3022-C868-473E-8607-1E4341DC0F28}" dt="2024-05-21T15:33:37.450" v="159" actId="47"/>
          <pc:sldLayoutMkLst>
            <pc:docMk/>
            <pc:sldMasterMk cId="2530762699" sldId="2147483701"/>
            <pc:sldLayoutMk cId="260069792" sldId="2147483767"/>
          </pc:sldLayoutMkLst>
        </pc:sldLayoutChg>
        <pc:sldLayoutChg chg="del">
          <pc:chgData name="CACERES SANDOVAL, EVA MARIA" userId="efa43ab3-f30d-49e0-8bcf-cbcf637d4549" providerId="ADAL" clId="{C6DC3022-C868-473E-8607-1E4341DC0F28}" dt="2024-05-21T15:33:37.450" v="159" actId="47"/>
          <pc:sldLayoutMkLst>
            <pc:docMk/>
            <pc:sldMasterMk cId="2530762699" sldId="2147483701"/>
            <pc:sldLayoutMk cId="4155858654" sldId="2147483768"/>
          </pc:sldLayoutMkLst>
        </pc:sldLayoutChg>
        <pc:sldLayoutChg chg="del">
          <pc:chgData name="CACERES SANDOVAL, EVA MARIA" userId="efa43ab3-f30d-49e0-8bcf-cbcf637d4549" providerId="ADAL" clId="{C6DC3022-C868-473E-8607-1E4341DC0F28}" dt="2024-05-21T15:33:37.450" v="159" actId="47"/>
          <pc:sldLayoutMkLst>
            <pc:docMk/>
            <pc:sldMasterMk cId="2530762699" sldId="2147483701"/>
            <pc:sldLayoutMk cId="1843572052" sldId="2147483770"/>
          </pc:sldLayoutMkLst>
        </pc:sldLayoutChg>
      </pc:sldMasterChg>
    </pc:docChg>
  </pc:docChgLst>
  <pc:docChgLst>
    <pc:chgData name="CISNEROS ROJAS, CAMILA GEORGINA" userId="c56cbc2a-55cd-4a0d-b56e-a0bfe880dc94" providerId="ADAL" clId="{BF859A91-FA63-4DC9-AD14-A4569BDBEE57}"/>
    <pc:docChg chg="undo redo custSel addSld delSld modSld sldOrd">
      <pc:chgData name="CISNEROS ROJAS, CAMILA GEORGINA" userId="c56cbc2a-55cd-4a0d-b56e-a0bfe880dc94" providerId="ADAL" clId="{BF859A91-FA63-4DC9-AD14-A4569BDBEE57}" dt="2025-03-06T16:18:28.551" v="16579" actId="108"/>
      <pc:docMkLst>
        <pc:docMk/>
      </pc:docMkLst>
      <pc:sldChg chg="addSp delSp modSp mod">
        <pc:chgData name="CISNEROS ROJAS, CAMILA GEORGINA" userId="c56cbc2a-55cd-4a0d-b56e-a0bfe880dc94" providerId="ADAL" clId="{BF859A91-FA63-4DC9-AD14-A4569BDBEE57}" dt="2025-03-05T15:54:26.364" v="3214" actId="1076"/>
        <pc:sldMkLst>
          <pc:docMk/>
          <pc:sldMk cId="3697566562" sldId="278"/>
        </pc:sldMkLst>
        <pc:spChg chg="mod">
          <ac:chgData name="CISNEROS ROJAS, CAMILA GEORGINA" userId="c56cbc2a-55cd-4a0d-b56e-a0bfe880dc94" providerId="ADAL" clId="{BF859A91-FA63-4DC9-AD14-A4569BDBEE57}" dt="2025-03-05T15:54:26.364" v="3214" actId="1076"/>
          <ac:spMkLst>
            <pc:docMk/>
            <pc:sldMk cId="3697566562" sldId="278"/>
            <ac:spMk id="3" creationId="{A74000BB-01C3-44BA-816C-04CA7BEBCF72}"/>
          </ac:spMkLst>
        </pc:spChg>
        <pc:spChg chg="add mod">
          <ac:chgData name="CISNEROS ROJAS, CAMILA GEORGINA" userId="c56cbc2a-55cd-4a0d-b56e-a0bfe880dc94" providerId="ADAL" clId="{BF859A91-FA63-4DC9-AD14-A4569BDBEE57}" dt="2025-03-04T21:08:26.456" v="219" actId="164"/>
          <ac:spMkLst>
            <pc:docMk/>
            <pc:sldMk cId="3697566562" sldId="278"/>
            <ac:spMk id="4" creationId="{F810755C-9B09-3923-7112-9D79088B205B}"/>
          </ac:spMkLst>
        </pc:spChg>
        <pc:spChg chg="del">
          <ac:chgData name="CISNEROS ROJAS, CAMILA GEORGINA" userId="c56cbc2a-55cd-4a0d-b56e-a0bfe880dc94" providerId="ADAL" clId="{BF859A91-FA63-4DC9-AD14-A4569BDBEE57}" dt="2025-03-04T20:51:53.340" v="197" actId="478"/>
          <ac:spMkLst>
            <pc:docMk/>
            <pc:sldMk cId="3697566562" sldId="278"/>
            <ac:spMk id="6" creationId="{6C1E2C2E-24E6-2DB4-39F5-CB11C3842301}"/>
          </ac:spMkLst>
        </pc:spChg>
        <pc:spChg chg="mod">
          <ac:chgData name="CISNEROS ROJAS, CAMILA GEORGINA" userId="c56cbc2a-55cd-4a0d-b56e-a0bfe880dc94" providerId="ADAL" clId="{BF859A91-FA63-4DC9-AD14-A4569BDBEE57}" dt="2025-03-04T20:54:32.587" v="204" actId="1076"/>
          <ac:spMkLst>
            <pc:docMk/>
            <pc:sldMk cId="3697566562" sldId="278"/>
            <ac:spMk id="11" creationId="{DB2AFE03-F3DA-ED5E-0F58-FB1B85F2393B}"/>
          </ac:spMkLst>
        </pc:spChg>
        <pc:spChg chg="mod">
          <ac:chgData name="CISNEROS ROJAS, CAMILA GEORGINA" userId="c56cbc2a-55cd-4a0d-b56e-a0bfe880dc94" providerId="ADAL" clId="{BF859A91-FA63-4DC9-AD14-A4569BDBEE57}" dt="2025-03-04T20:57:28.471" v="210" actId="1038"/>
          <ac:spMkLst>
            <pc:docMk/>
            <pc:sldMk cId="3697566562" sldId="278"/>
            <ac:spMk id="12" creationId="{2A5F4AE4-3F90-D5B0-F07F-FF52C44102BB}"/>
          </ac:spMkLst>
        </pc:spChg>
        <pc:spChg chg="mod">
          <ac:chgData name="CISNEROS ROJAS, CAMILA GEORGINA" userId="c56cbc2a-55cd-4a0d-b56e-a0bfe880dc94" providerId="ADAL" clId="{BF859A91-FA63-4DC9-AD14-A4569BDBEE57}" dt="2025-03-04T20:54:38.137" v="206" actId="1076"/>
          <ac:spMkLst>
            <pc:docMk/>
            <pc:sldMk cId="3697566562" sldId="278"/>
            <ac:spMk id="13" creationId="{C8A49855-0EE7-D7DF-868F-8404FC0A1B83}"/>
          </ac:spMkLst>
        </pc:spChg>
        <pc:grpChg chg="add mod ord">
          <ac:chgData name="CISNEROS ROJAS, CAMILA GEORGINA" userId="c56cbc2a-55cd-4a0d-b56e-a0bfe880dc94" providerId="ADAL" clId="{BF859A91-FA63-4DC9-AD14-A4569BDBEE57}" dt="2025-03-04T21:10:37.673" v="287" actId="1076"/>
          <ac:grpSpMkLst>
            <pc:docMk/>
            <pc:sldMk cId="3697566562" sldId="278"/>
            <ac:grpSpMk id="5" creationId="{BDABAC93-1BB8-2F18-6BD4-09E145557CDE}"/>
          </ac:grpSpMkLst>
        </pc:grpChg>
        <pc:picChg chg="add mod ord modCrop">
          <ac:chgData name="CISNEROS ROJAS, CAMILA GEORGINA" userId="c56cbc2a-55cd-4a0d-b56e-a0bfe880dc94" providerId="ADAL" clId="{BF859A91-FA63-4DC9-AD14-A4569BDBEE57}" dt="2025-03-04T21:08:26.456" v="219" actId="164"/>
          <ac:picMkLst>
            <pc:docMk/>
            <pc:sldMk cId="3697566562" sldId="278"/>
            <ac:picMk id="2" creationId="{42765D3E-A2D8-F085-811F-9F815528AA76}"/>
          </ac:picMkLst>
        </pc:picChg>
        <pc:picChg chg="del">
          <ac:chgData name="CISNEROS ROJAS, CAMILA GEORGINA" userId="c56cbc2a-55cd-4a0d-b56e-a0bfe880dc94" providerId="ADAL" clId="{BF859A91-FA63-4DC9-AD14-A4569BDBEE57}" dt="2025-03-04T20:51:19.818" v="187" actId="478"/>
          <ac:picMkLst>
            <pc:docMk/>
            <pc:sldMk cId="3697566562" sldId="278"/>
            <ac:picMk id="7" creationId="{C58F4497-DB4E-40DF-B3CA-D01A407AD69D}"/>
          </ac:picMkLst>
        </pc:picChg>
      </pc:sldChg>
      <pc:sldChg chg="modSp mod">
        <pc:chgData name="CISNEROS ROJAS, CAMILA GEORGINA" userId="c56cbc2a-55cd-4a0d-b56e-a0bfe880dc94" providerId="ADAL" clId="{BF859A91-FA63-4DC9-AD14-A4569BDBEE57}" dt="2025-03-04T20:49:11.855" v="183" actId="14100"/>
        <pc:sldMkLst>
          <pc:docMk/>
          <pc:sldMk cId="1911634418" sldId="294"/>
        </pc:sldMkLst>
        <pc:spChg chg="mod">
          <ac:chgData name="CISNEROS ROJAS, CAMILA GEORGINA" userId="c56cbc2a-55cd-4a0d-b56e-a0bfe880dc94" providerId="ADAL" clId="{BF859A91-FA63-4DC9-AD14-A4569BDBEE57}" dt="2025-03-04T20:49:11.855" v="183" actId="14100"/>
          <ac:spMkLst>
            <pc:docMk/>
            <pc:sldMk cId="1911634418" sldId="294"/>
            <ac:spMk id="2" creationId="{9E35DCEA-11FB-375E-BA08-3B2B59711278}"/>
          </ac:spMkLst>
        </pc:spChg>
        <pc:spChg chg="mod">
          <ac:chgData name="CISNEROS ROJAS, CAMILA GEORGINA" userId="c56cbc2a-55cd-4a0d-b56e-a0bfe880dc94" providerId="ADAL" clId="{BF859A91-FA63-4DC9-AD14-A4569BDBEE57}" dt="2025-03-04T20:45:23.950" v="41" actId="20577"/>
          <ac:spMkLst>
            <pc:docMk/>
            <pc:sldMk cId="1911634418" sldId="294"/>
            <ac:spMk id="4" creationId="{19A7A5CC-C7F1-1A88-CF54-31D5B8150FAD}"/>
          </ac:spMkLst>
        </pc:spChg>
      </pc:sldChg>
      <pc:sldChg chg="addSp delSp modSp mod">
        <pc:chgData name="CISNEROS ROJAS, CAMILA GEORGINA" userId="c56cbc2a-55cd-4a0d-b56e-a0bfe880dc94" providerId="ADAL" clId="{BF859A91-FA63-4DC9-AD14-A4569BDBEE57}" dt="2025-03-06T15:15:29.399" v="16004" actId="1076"/>
        <pc:sldMkLst>
          <pc:docMk/>
          <pc:sldMk cId="2071524738" sldId="454"/>
        </pc:sldMkLst>
        <pc:spChg chg="mod">
          <ac:chgData name="CISNEROS ROJAS, CAMILA GEORGINA" userId="c56cbc2a-55cd-4a0d-b56e-a0bfe880dc94" providerId="ADAL" clId="{BF859A91-FA63-4DC9-AD14-A4569BDBEE57}" dt="2025-03-06T15:15:29.399" v="16004" actId="1076"/>
          <ac:spMkLst>
            <pc:docMk/>
            <pc:sldMk cId="2071524738" sldId="454"/>
            <ac:spMk id="2" creationId="{8D763E11-F3CC-18C3-E0AA-94D89D53A965}"/>
          </ac:spMkLst>
        </pc:spChg>
        <pc:spChg chg="add del mod">
          <ac:chgData name="CISNEROS ROJAS, CAMILA GEORGINA" userId="c56cbc2a-55cd-4a0d-b56e-a0bfe880dc94" providerId="ADAL" clId="{BF859A91-FA63-4DC9-AD14-A4569BDBEE57}" dt="2025-03-04T21:14:08.157" v="428" actId="478"/>
          <ac:spMkLst>
            <pc:docMk/>
            <pc:sldMk cId="2071524738" sldId="454"/>
            <ac:spMk id="3" creationId="{4E85E1D5-190E-83BC-6EB7-8B019A85F827}"/>
          </ac:spMkLst>
        </pc:spChg>
        <pc:spChg chg="del">
          <ac:chgData name="CISNEROS ROJAS, CAMILA GEORGINA" userId="c56cbc2a-55cd-4a0d-b56e-a0bfe880dc94" providerId="ADAL" clId="{BF859A91-FA63-4DC9-AD14-A4569BDBEE57}" dt="2025-03-06T15:15:23.038" v="16002" actId="478"/>
          <ac:spMkLst>
            <pc:docMk/>
            <pc:sldMk cId="2071524738" sldId="454"/>
            <ac:spMk id="4" creationId="{00263C98-E602-FF2F-73CD-3834C4FA2869}"/>
          </ac:spMkLst>
        </pc:spChg>
        <pc:spChg chg="add mod">
          <ac:chgData name="CISNEROS ROJAS, CAMILA GEORGINA" userId="c56cbc2a-55cd-4a0d-b56e-a0bfe880dc94" providerId="ADAL" clId="{BF859A91-FA63-4DC9-AD14-A4569BDBEE57}" dt="2025-03-06T15:15:29.399" v="16004" actId="1076"/>
          <ac:spMkLst>
            <pc:docMk/>
            <pc:sldMk cId="2071524738" sldId="454"/>
            <ac:spMk id="5" creationId="{A00316FA-3E65-4197-74F0-F0D20D0A757B}"/>
          </ac:spMkLst>
        </pc:spChg>
        <pc:spChg chg="add del mod">
          <ac:chgData name="CISNEROS ROJAS, CAMILA GEORGINA" userId="c56cbc2a-55cd-4a0d-b56e-a0bfe880dc94" providerId="ADAL" clId="{BF859A91-FA63-4DC9-AD14-A4569BDBEE57}" dt="2025-03-06T15:15:25.254" v="16003" actId="478"/>
          <ac:spMkLst>
            <pc:docMk/>
            <pc:sldMk cId="2071524738" sldId="454"/>
            <ac:spMk id="6" creationId="{1854745C-FE24-C5C6-EC6B-50B525B0908C}"/>
          </ac:spMkLst>
        </pc:spChg>
      </pc:sldChg>
      <pc:sldChg chg="del">
        <pc:chgData name="CISNEROS ROJAS, CAMILA GEORGINA" userId="c56cbc2a-55cd-4a0d-b56e-a0bfe880dc94" providerId="ADAL" clId="{BF859A91-FA63-4DC9-AD14-A4569BDBEE57}" dt="2025-03-06T15:07:39.570" v="15922" actId="2696"/>
        <pc:sldMkLst>
          <pc:docMk/>
          <pc:sldMk cId="3250579648" sldId="460"/>
        </pc:sldMkLst>
      </pc:sldChg>
      <pc:sldChg chg="addSp delSp modSp del mod ord">
        <pc:chgData name="CISNEROS ROJAS, CAMILA GEORGINA" userId="c56cbc2a-55cd-4a0d-b56e-a0bfe880dc94" providerId="ADAL" clId="{BF859A91-FA63-4DC9-AD14-A4569BDBEE57}" dt="2025-03-06T15:16:17.789" v="16008" actId="2696"/>
        <pc:sldMkLst>
          <pc:docMk/>
          <pc:sldMk cId="4091519663" sldId="8132"/>
        </pc:sldMkLst>
        <pc:spChg chg="add del mod">
          <ac:chgData name="CISNEROS ROJAS, CAMILA GEORGINA" userId="c56cbc2a-55cd-4a0d-b56e-a0bfe880dc94" providerId="ADAL" clId="{BF859A91-FA63-4DC9-AD14-A4569BDBEE57}" dt="2025-03-06T15:15:34.815" v="16005" actId="478"/>
          <ac:spMkLst>
            <pc:docMk/>
            <pc:sldMk cId="4091519663" sldId="8132"/>
            <ac:spMk id="2" creationId="{5A384C50-8721-D7AB-6F21-7BF23B1E256E}"/>
          </ac:spMkLst>
        </pc:spChg>
        <pc:spChg chg="add del mod">
          <ac:chgData name="CISNEROS ROJAS, CAMILA GEORGINA" userId="c56cbc2a-55cd-4a0d-b56e-a0bfe880dc94" providerId="ADAL" clId="{BF859A91-FA63-4DC9-AD14-A4569BDBEE57}" dt="2025-03-06T15:15:34.815" v="16005" actId="478"/>
          <ac:spMkLst>
            <pc:docMk/>
            <pc:sldMk cId="4091519663" sldId="8132"/>
            <ac:spMk id="3" creationId="{F849FB54-B085-6059-2EEE-53BD6C588F42}"/>
          </ac:spMkLst>
        </pc:spChg>
        <pc:spChg chg="add del mod">
          <ac:chgData name="CISNEROS ROJAS, CAMILA GEORGINA" userId="c56cbc2a-55cd-4a0d-b56e-a0bfe880dc94" providerId="ADAL" clId="{BF859A91-FA63-4DC9-AD14-A4569BDBEE57}" dt="2025-03-06T15:15:34.815" v="16005" actId="478"/>
          <ac:spMkLst>
            <pc:docMk/>
            <pc:sldMk cId="4091519663" sldId="8132"/>
            <ac:spMk id="4" creationId="{48E0E2D1-1CD8-C35D-CDD0-B2E409973FED}"/>
          </ac:spMkLst>
        </pc:spChg>
        <pc:spChg chg="add del mod">
          <ac:chgData name="CISNEROS ROJAS, CAMILA GEORGINA" userId="c56cbc2a-55cd-4a0d-b56e-a0bfe880dc94" providerId="ADAL" clId="{BF859A91-FA63-4DC9-AD14-A4569BDBEE57}" dt="2025-03-06T15:15:34.815" v="16005" actId="478"/>
          <ac:spMkLst>
            <pc:docMk/>
            <pc:sldMk cId="4091519663" sldId="8132"/>
            <ac:spMk id="5" creationId="{0CC6893A-7AB8-F58F-BEF5-BC275348D8D2}"/>
          </ac:spMkLst>
        </pc:spChg>
        <pc:spChg chg="add del mod">
          <ac:chgData name="CISNEROS ROJAS, CAMILA GEORGINA" userId="c56cbc2a-55cd-4a0d-b56e-a0bfe880dc94" providerId="ADAL" clId="{BF859A91-FA63-4DC9-AD14-A4569BDBEE57}" dt="2025-03-06T15:15:34.815" v="16005" actId="478"/>
          <ac:spMkLst>
            <pc:docMk/>
            <pc:sldMk cId="4091519663" sldId="8132"/>
            <ac:spMk id="6" creationId="{4BB9A03D-6516-A615-4C93-C27A2A006062}"/>
          </ac:spMkLst>
        </pc:spChg>
        <pc:spChg chg="add del mod">
          <ac:chgData name="CISNEROS ROJAS, CAMILA GEORGINA" userId="c56cbc2a-55cd-4a0d-b56e-a0bfe880dc94" providerId="ADAL" clId="{BF859A91-FA63-4DC9-AD14-A4569BDBEE57}" dt="2025-03-06T15:15:34.815" v="16005" actId="478"/>
          <ac:spMkLst>
            <pc:docMk/>
            <pc:sldMk cId="4091519663" sldId="8132"/>
            <ac:spMk id="7" creationId="{B8754F8B-3C43-0B8A-37CC-3A4A0DFFD7A0}"/>
          </ac:spMkLst>
        </pc:spChg>
        <pc:spChg chg="add del mod">
          <ac:chgData name="CISNEROS ROJAS, CAMILA GEORGINA" userId="c56cbc2a-55cd-4a0d-b56e-a0bfe880dc94" providerId="ADAL" clId="{BF859A91-FA63-4DC9-AD14-A4569BDBEE57}" dt="2025-03-06T15:15:34.815" v="16005" actId="478"/>
          <ac:spMkLst>
            <pc:docMk/>
            <pc:sldMk cId="4091519663" sldId="8132"/>
            <ac:spMk id="8" creationId="{3B66B843-1D5D-685F-B53D-D2474BC2A270}"/>
          </ac:spMkLst>
        </pc:spChg>
        <pc:spChg chg="mod">
          <ac:chgData name="CISNEROS ROJAS, CAMILA GEORGINA" userId="c56cbc2a-55cd-4a0d-b56e-a0bfe880dc94" providerId="ADAL" clId="{BF859A91-FA63-4DC9-AD14-A4569BDBEE57}" dt="2025-03-05T13:44:11.495" v="2413" actId="20577"/>
          <ac:spMkLst>
            <pc:docMk/>
            <pc:sldMk cId="4091519663" sldId="8132"/>
            <ac:spMk id="9" creationId="{2CCD0179-02F2-8188-2F3C-5EC85CFAEB28}"/>
          </ac:spMkLst>
        </pc:spChg>
        <pc:spChg chg="add del mod">
          <ac:chgData name="CISNEROS ROJAS, CAMILA GEORGINA" userId="c56cbc2a-55cd-4a0d-b56e-a0bfe880dc94" providerId="ADAL" clId="{BF859A91-FA63-4DC9-AD14-A4569BDBEE57}" dt="2025-03-06T15:15:34.815" v="16005" actId="478"/>
          <ac:spMkLst>
            <pc:docMk/>
            <pc:sldMk cId="4091519663" sldId="8132"/>
            <ac:spMk id="10" creationId="{5BBA6908-9AA3-2DA2-08C5-A96E6720F0EA}"/>
          </ac:spMkLst>
        </pc:spChg>
        <pc:spChg chg="add del mod">
          <ac:chgData name="CISNEROS ROJAS, CAMILA GEORGINA" userId="c56cbc2a-55cd-4a0d-b56e-a0bfe880dc94" providerId="ADAL" clId="{BF859A91-FA63-4DC9-AD14-A4569BDBEE57}" dt="2025-03-06T15:15:34.815" v="16005" actId="478"/>
          <ac:spMkLst>
            <pc:docMk/>
            <pc:sldMk cId="4091519663" sldId="8132"/>
            <ac:spMk id="11" creationId="{D3680036-F3EA-97B3-4C22-73D8E1D102CF}"/>
          </ac:spMkLst>
        </pc:spChg>
        <pc:spChg chg="add del mod">
          <ac:chgData name="CISNEROS ROJAS, CAMILA GEORGINA" userId="c56cbc2a-55cd-4a0d-b56e-a0bfe880dc94" providerId="ADAL" clId="{BF859A91-FA63-4DC9-AD14-A4569BDBEE57}" dt="2025-03-06T15:15:34.815" v="16005" actId="478"/>
          <ac:spMkLst>
            <pc:docMk/>
            <pc:sldMk cId="4091519663" sldId="8132"/>
            <ac:spMk id="12" creationId="{9AC4C966-6772-23A8-A4FE-BFD41ABC44C0}"/>
          </ac:spMkLst>
        </pc:spChg>
        <pc:spChg chg="add del mod">
          <ac:chgData name="CISNEROS ROJAS, CAMILA GEORGINA" userId="c56cbc2a-55cd-4a0d-b56e-a0bfe880dc94" providerId="ADAL" clId="{BF859A91-FA63-4DC9-AD14-A4569BDBEE57}" dt="2025-03-06T15:15:34.815" v="16005" actId="478"/>
          <ac:spMkLst>
            <pc:docMk/>
            <pc:sldMk cId="4091519663" sldId="8132"/>
            <ac:spMk id="13" creationId="{A5DBE588-DD04-B4BD-80A2-13CD0A6750AF}"/>
          </ac:spMkLst>
        </pc:spChg>
        <pc:spChg chg="add del mod">
          <ac:chgData name="CISNEROS ROJAS, CAMILA GEORGINA" userId="c56cbc2a-55cd-4a0d-b56e-a0bfe880dc94" providerId="ADAL" clId="{BF859A91-FA63-4DC9-AD14-A4569BDBEE57}" dt="2025-03-06T15:15:34.815" v="16005" actId="478"/>
          <ac:spMkLst>
            <pc:docMk/>
            <pc:sldMk cId="4091519663" sldId="8132"/>
            <ac:spMk id="14" creationId="{C5AC7F2C-D145-E1BA-63EB-5B14C8D6DF28}"/>
          </ac:spMkLst>
        </pc:spChg>
        <pc:spChg chg="add del mod">
          <ac:chgData name="CISNEROS ROJAS, CAMILA GEORGINA" userId="c56cbc2a-55cd-4a0d-b56e-a0bfe880dc94" providerId="ADAL" clId="{BF859A91-FA63-4DC9-AD14-A4569BDBEE57}" dt="2025-03-06T15:15:34.815" v="16005" actId="478"/>
          <ac:spMkLst>
            <pc:docMk/>
            <pc:sldMk cId="4091519663" sldId="8132"/>
            <ac:spMk id="15" creationId="{CF8CDE62-11CC-FB62-3334-58EBE466CA77}"/>
          </ac:spMkLst>
        </pc:spChg>
        <pc:spChg chg="add del mod">
          <ac:chgData name="CISNEROS ROJAS, CAMILA GEORGINA" userId="c56cbc2a-55cd-4a0d-b56e-a0bfe880dc94" providerId="ADAL" clId="{BF859A91-FA63-4DC9-AD14-A4569BDBEE57}" dt="2025-03-06T15:15:34.815" v="16005" actId="478"/>
          <ac:spMkLst>
            <pc:docMk/>
            <pc:sldMk cId="4091519663" sldId="8132"/>
            <ac:spMk id="16" creationId="{75441EB9-BE34-8F09-4571-8029C0378919}"/>
          </ac:spMkLst>
        </pc:spChg>
        <pc:spChg chg="add del mod">
          <ac:chgData name="CISNEROS ROJAS, CAMILA GEORGINA" userId="c56cbc2a-55cd-4a0d-b56e-a0bfe880dc94" providerId="ADAL" clId="{BF859A91-FA63-4DC9-AD14-A4569BDBEE57}" dt="2025-03-06T15:15:34.815" v="16005" actId="478"/>
          <ac:spMkLst>
            <pc:docMk/>
            <pc:sldMk cId="4091519663" sldId="8132"/>
            <ac:spMk id="17" creationId="{53BDAC4B-EF4A-9CE1-7E89-768254688546}"/>
          </ac:spMkLst>
        </pc:spChg>
        <pc:spChg chg="add del mod">
          <ac:chgData name="CISNEROS ROJAS, CAMILA GEORGINA" userId="c56cbc2a-55cd-4a0d-b56e-a0bfe880dc94" providerId="ADAL" clId="{BF859A91-FA63-4DC9-AD14-A4569BDBEE57}" dt="2025-03-06T15:15:34.815" v="16005" actId="478"/>
          <ac:spMkLst>
            <pc:docMk/>
            <pc:sldMk cId="4091519663" sldId="8132"/>
            <ac:spMk id="18" creationId="{AA42DF17-3E5C-6A92-E1D5-A811CCFD7B5C}"/>
          </ac:spMkLst>
        </pc:spChg>
        <pc:spChg chg="add del mod">
          <ac:chgData name="CISNEROS ROJAS, CAMILA GEORGINA" userId="c56cbc2a-55cd-4a0d-b56e-a0bfe880dc94" providerId="ADAL" clId="{BF859A91-FA63-4DC9-AD14-A4569BDBEE57}" dt="2025-03-06T15:15:34.815" v="16005" actId="478"/>
          <ac:spMkLst>
            <pc:docMk/>
            <pc:sldMk cId="4091519663" sldId="8132"/>
            <ac:spMk id="19" creationId="{51668E04-13B5-ADB4-B85C-7E6699AE0160}"/>
          </ac:spMkLst>
        </pc:spChg>
        <pc:spChg chg="add del mod">
          <ac:chgData name="CISNEROS ROJAS, CAMILA GEORGINA" userId="c56cbc2a-55cd-4a0d-b56e-a0bfe880dc94" providerId="ADAL" clId="{BF859A91-FA63-4DC9-AD14-A4569BDBEE57}" dt="2025-03-06T15:15:34.815" v="16005" actId="478"/>
          <ac:spMkLst>
            <pc:docMk/>
            <pc:sldMk cId="4091519663" sldId="8132"/>
            <ac:spMk id="20" creationId="{949359E7-68ED-55B5-D38C-F9F1B2ABB367}"/>
          </ac:spMkLst>
        </pc:spChg>
        <pc:spChg chg="add del mod">
          <ac:chgData name="CISNEROS ROJAS, CAMILA GEORGINA" userId="c56cbc2a-55cd-4a0d-b56e-a0bfe880dc94" providerId="ADAL" clId="{BF859A91-FA63-4DC9-AD14-A4569BDBEE57}" dt="2025-03-06T15:15:34.815" v="16005" actId="478"/>
          <ac:spMkLst>
            <pc:docMk/>
            <pc:sldMk cId="4091519663" sldId="8132"/>
            <ac:spMk id="21" creationId="{B39F57F8-F18F-92C2-6562-BA25EC14BCFD}"/>
          </ac:spMkLst>
        </pc:spChg>
        <pc:spChg chg="add del mod">
          <ac:chgData name="CISNEROS ROJAS, CAMILA GEORGINA" userId="c56cbc2a-55cd-4a0d-b56e-a0bfe880dc94" providerId="ADAL" clId="{BF859A91-FA63-4DC9-AD14-A4569BDBEE57}" dt="2025-03-06T15:15:34.815" v="16005" actId="478"/>
          <ac:spMkLst>
            <pc:docMk/>
            <pc:sldMk cId="4091519663" sldId="8132"/>
            <ac:spMk id="22" creationId="{E571DA04-24E5-D842-306D-673CE2E20458}"/>
          </ac:spMkLst>
        </pc:spChg>
        <pc:spChg chg="add mod">
          <ac:chgData name="CISNEROS ROJAS, CAMILA GEORGINA" userId="c56cbc2a-55cd-4a0d-b56e-a0bfe880dc94" providerId="ADAL" clId="{BF859A91-FA63-4DC9-AD14-A4569BDBEE57}" dt="2025-03-06T15:15:59.997" v="16007" actId="1076"/>
          <ac:spMkLst>
            <pc:docMk/>
            <pc:sldMk cId="4091519663" sldId="8132"/>
            <ac:spMk id="23" creationId="{E8D15295-F1BF-3416-F0B3-59AC85EEB07A}"/>
          </ac:spMkLst>
        </pc:spChg>
        <pc:spChg chg="add mod">
          <ac:chgData name="CISNEROS ROJAS, CAMILA GEORGINA" userId="c56cbc2a-55cd-4a0d-b56e-a0bfe880dc94" providerId="ADAL" clId="{BF859A91-FA63-4DC9-AD14-A4569BDBEE57}" dt="2025-03-06T15:15:59.997" v="16007" actId="1076"/>
          <ac:spMkLst>
            <pc:docMk/>
            <pc:sldMk cId="4091519663" sldId="8132"/>
            <ac:spMk id="24" creationId="{AC78328A-07AF-8E97-217D-EFFCC8AA7648}"/>
          </ac:spMkLst>
        </pc:spChg>
        <pc:spChg chg="add mod">
          <ac:chgData name="CISNEROS ROJAS, CAMILA GEORGINA" userId="c56cbc2a-55cd-4a0d-b56e-a0bfe880dc94" providerId="ADAL" clId="{BF859A91-FA63-4DC9-AD14-A4569BDBEE57}" dt="2025-03-06T15:15:59.997" v="16007" actId="1076"/>
          <ac:spMkLst>
            <pc:docMk/>
            <pc:sldMk cId="4091519663" sldId="8132"/>
            <ac:spMk id="25" creationId="{646BFE8E-E4B4-DEA6-5E02-F7E94A11F7B5}"/>
          </ac:spMkLst>
        </pc:spChg>
        <pc:spChg chg="add mod">
          <ac:chgData name="CISNEROS ROJAS, CAMILA GEORGINA" userId="c56cbc2a-55cd-4a0d-b56e-a0bfe880dc94" providerId="ADAL" clId="{BF859A91-FA63-4DC9-AD14-A4569BDBEE57}" dt="2025-03-06T15:15:59.997" v="16007" actId="1076"/>
          <ac:spMkLst>
            <pc:docMk/>
            <pc:sldMk cId="4091519663" sldId="8132"/>
            <ac:spMk id="27" creationId="{D613A9BB-8C77-2CF1-51B3-07379870AD33}"/>
          </ac:spMkLst>
        </pc:spChg>
        <pc:spChg chg="add mod">
          <ac:chgData name="CISNEROS ROJAS, CAMILA GEORGINA" userId="c56cbc2a-55cd-4a0d-b56e-a0bfe880dc94" providerId="ADAL" clId="{BF859A91-FA63-4DC9-AD14-A4569BDBEE57}" dt="2025-03-06T15:15:59.997" v="16007" actId="1076"/>
          <ac:spMkLst>
            <pc:docMk/>
            <pc:sldMk cId="4091519663" sldId="8132"/>
            <ac:spMk id="28" creationId="{C543A59A-9649-9353-FA2F-DF777931F114}"/>
          </ac:spMkLst>
        </pc:spChg>
        <pc:spChg chg="add mod">
          <ac:chgData name="CISNEROS ROJAS, CAMILA GEORGINA" userId="c56cbc2a-55cd-4a0d-b56e-a0bfe880dc94" providerId="ADAL" clId="{BF859A91-FA63-4DC9-AD14-A4569BDBEE57}" dt="2025-03-06T15:15:59.997" v="16007" actId="1076"/>
          <ac:spMkLst>
            <pc:docMk/>
            <pc:sldMk cId="4091519663" sldId="8132"/>
            <ac:spMk id="30" creationId="{3A104103-46F9-6DE0-56C8-CB46FD5D8AA2}"/>
          </ac:spMkLst>
        </pc:spChg>
        <pc:spChg chg="add mod">
          <ac:chgData name="CISNEROS ROJAS, CAMILA GEORGINA" userId="c56cbc2a-55cd-4a0d-b56e-a0bfe880dc94" providerId="ADAL" clId="{BF859A91-FA63-4DC9-AD14-A4569BDBEE57}" dt="2025-03-06T15:15:59.997" v="16007" actId="1076"/>
          <ac:spMkLst>
            <pc:docMk/>
            <pc:sldMk cId="4091519663" sldId="8132"/>
            <ac:spMk id="31" creationId="{0EF401DA-E832-6971-EC9F-8842D073F8D2}"/>
          </ac:spMkLst>
        </pc:spChg>
        <pc:spChg chg="add mod">
          <ac:chgData name="CISNEROS ROJAS, CAMILA GEORGINA" userId="c56cbc2a-55cd-4a0d-b56e-a0bfe880dc94" providerId="ADAL" clId="{BF859A91-FA63-4DC9-AD14-A4569BDBEE57}" dt="2025-03-06T15:15:59.997" v="16007" actId="1076"/>
          <ac:spMkLst>
            <pc:docMk/>
            <pc:sldMk cId="4091519663" sldId="8132"/>
            <ac:spMk id="33" creationId="{04EBE922-E748-C594-8CAB-48DDA5D19014}"/>
          </ac:spMkLst>
        </pc:spChg>
        <pc:spChg chg="add mod">
          <ac:chgData name="CISNEROS ROJAS, CAMILA GEORGINA" userId="c56cbc2a-55cd-4a0d-b56e-a0bfe880dc94" providerId="ADAL" clId="{BF859A91-FA63-4DC9-AD14-A4569BDBEE57}" dt="2025-03-06T15:15:59.997" v="16007" actId="1076"/>
          <ac:spMkLst>
            <pc:docMk/>
            <pc:sldMk cId="4091519663" sldId="8132"/>
            <ac:spMk id="34" creationId="{D5696D78-4F13-D8DF-0963-81495997E44B}"/>
          </ac:spMkLst>
        </pc:spChg>
        <pc:spChg chg="add mod">
          <ac:chgData name="CISNEROS ROJAS, CAMILA GEORGINA" userId="c56cbc2a-55cd-4a0d-b56e-a0bfe880dc94" providerId="ADAL" clId="{BF859A91-FA63-4DC9-AD14-A4569BDBEE57}" dt="2025-03-06T15:15:59.997" v="16007" actId="1076"/>
          <ac:spMkLst>
            <pc:docMk/>
            <pc:sldMk cId="4091519663" sldId="8132"/>
            <ac:spMk id="35" creationId="{5981B3F8-1E40-A2CA-AD17-0E7772A7482F}"/>
          </ac:spMkLst>
        </pc:spChg>
        <pc:spChg chg="add mod">
          <ac:chgData name="CISNEROS ROJAS, CAMILA GEORGINA" userId="c56cbc2a-55cd-4a0d-b56e-a0bfe880dc94" providerId="ADAL" clId="{BF859A91-FA63-4DC9-AD14-A4569BDBEE57}" dt="2025-03-06T15:15:59.997" v="16007" actId="1076"/>
          <ac:spMkLst>
            <pc:docMk/>
            <pc:sldMk cId="4091519663" sldId="8132"/>
            <ac:spMk id="36" creationId="{DDADADF0-86E0-53D5-99A0-05D82136FB04}"/>
          </ac:spMkLst>
        </pc:spChg>
        <pc:spChg chg="add mod">
          <ac:chgData name="CISNEROS ROJAS, CAMILA GEORGINA" userId="c56cbc2a-55cd-4a0d-b56e-a0bfe880dc94" providerId="ADAL" clId="{BF859A91-FA63-4DC9-AD14-A4569BDBEE57}" dt="2025-03-06T15:15:59.997" v="16007" actId="1076"/>
          <ac:spMkLst>
            <pc:docMk/>
            <pc:sldMk cId="4091519663" sldId="8132"/>
            <ac:spMk id="37" creationId="{5872F2E9-946C-3B0A-0A12-3E6829F8F63E}"/>
          </ac:spMkLst>
        </pc:spChg>
        <pc:spChg chg="add mod">
          <ac:chgData name="CISNEROS ROJAS, CAMILA GEORGINA" userId="c56cbc2a-55cd-4a0d-b56e-a0bfe880dc94" providerId="ADAL" clId="{BF859A91-FA63-4DC9-AD14-A4569BDBEE57}" dt="2025-03-06T15:15:59.997" v="16007" actId="1076"/>
          <ac:spMkLst>
            <pc:docMk/>
            <pc:sldMk cId="4091519663" sldId="8132"/>
            <ac:spMk id="38" creationId="{0F38E0D1-6BDB-638B-9C7B-8CF8F9D51C0E}"/>
          </ac:spMkLst>
        </pc:spChg>
        <pc:spChg chg="add mod">
          <ac:chgData name="CISNEROS ROJAS, CAMILA GEORGINA" userId="c56cbc2a-55cd-4a0d-b56e-a0bfe880dc94" providerId="ADAL" clId="{BF859A91-FA63-4DC9-AD14-A4569BDBEE57}" dt="2025-03-06T15:15:59.997" v="16007" actId="1076"/>
          <ac:spMkLst>
            <pc:docMk/>
            <pc:sldMk cId="4091519663" sldId="8132"/>
            <ac:spMk id="39" creationId="{DC260F29-63B9-6D4A-B81D-C0F57012F033}"/>
          </ac:spMkLst>
        </pc:spChg>
        <pc:spChg chg="add mod">
          <ac:chgData name="CISNEROS ROJAS, CAMILA GEORGINA" userId="c56cbc2a-55cd-4a0d-b56e-a0bfe880dc94" providerId="ADAL" clId="{BF859A91-FA63-4DC9-AD14-A4569BDBEE57}" dt="2025-03-06T15:15:59.997" v="16007" actId="1076"/>
          <ac:spMkLst>
            <pc:docMk/>
            <pc:sldMk cId="4091519663" sldId="8132"/>
            <ac:spMk id="40" creationId="{6F9B97F8-65E1-2897-9690-C479CAE03D98}"/>
          </ac:spMkLst>
        </pc:spChg>
        <pc:spChg chg="add mod">
          <ac:chgData name="CISNEROS ROJAS, CAMILA GEORGINA" userId="c56cbc2a-55cd-4a0d-b56e-a0bfe880dc94" providerId="ADAL" clId="{BF859A91-FA63-4DC9-AD14-A4569BDBEE57}" dt="2025-03-06T15:15:59.997" v="16007" actId="1076"/>
          <ac:spMkLst>
            <pc:docMk/>
            <pc:sldMk cId="4091519663" sldId="8132"/>
            <ac:spMk id="41" creationId="{981CB8B0-9121-DF07-6E85-8C52B84D6CB2}"/>
          </ac:spMkLst>
        </pc:spChg>
        <pc:spChg chg="add mod">
          <ac:chgData name="CISNEROS ROJAS, CAMILA GEORGINA" userId="c56cbc2a-55cd-4a0d-b56e-a0bfe880dc94" providerId="ADAL" clId="{BF859A91-FA63-4DC9-AD14-A4569BDBEE57}" dt="2025-03-06T15:15:59.997" v="16007" actId="1076"/>
          <ac:spMkLst>
            <pc:docMk/>
            <pc:sldMk cId="4091519663" sldId="8132"/>
            <ac:spMk id="43" creationId="{8E20D945-7664-363A-5C81-573A067778D3}"/>
          </ac:spMkLst>
        </pc:spChg>
        <pc:spChg chg="add mod">
          <ac:chgData name="CISNEROS ROJAS, CAMILA GEORGINA" userId="c56cbc2a-55cd-4a0d-b56e-a0bfe880dc94" providerId="ADAL" clId="{BF859A91-FA63-4DC9-AD14-A4569BDBEE57}" dt="2025-03-06T15:15:59.997" v="16007" actId="1076"/>
          <ac:spMkLst>
            <pc:docMk/>
            <pc:sldMk cId="4091519663" sldId="8132"/>
            <ac:spMk id="44" creationId="{E0EE1D7E-C92F-80A7-6350-A3F4836EF86E}"/>
          </ac:spMkLst>
        </pc:spChg>
        <pc:spChg chg="add mod">
          <ac:chgData name="CISNEROS ROJAS, CAMILA GEORGINA" userId="c56cbc2a-55cd-4a0d-b56e-a0bfe880dc94" providerId="ADAL" clId="{BF859A91-FA63-4DC9-AD14-A4569BDBEE57}" dt="2025-03-06T15:15:59.997" v="16007" actId="1076"/>
          <ac:spMkLst>
            <pc:docMk/>
            <pc:sldMk cId="4091519663" sldId="8132"/>
            <ac:spMk id="46" creationId="{BC1EC71E-FEA3-11B6-C524-4B366CF107F4}"/>
          </ac:spMkLst>
        </pc:spChg>
        <pc:spChg chg="add mod">
          <ac:chgData name="CISNEROS ROJAS, CAMILA GEORGINA" userId="c56cbc2a-55cd-4a0d-b56e-a0bfe880dc94" providerId="ADAL" clId="{BF859A91-FA63-4DC9-AD14-A4569BDBEE57}" dt="2025-03-06T15:15:59.997" v="16007" actId="1076"/>
          <ac:spMkLst>
            <pc:docMk/>
            <pc:sldMk cId="4091519663" sldId="8132"/>
            <ac:spMk id="47" creationId="{DF32E559-03AC-1836-9E54-E289159C55DC}"/>
          </ac:spMkLst>
        </pc:spChg>
        <pc:spChg chg="add mod">
          <ac:chgData name="CISNEROS ROJAS, CAMILA GEORGINA" userId="c56cbc2a-55cd-4a0d-b56e-a0bfe880dc94" providerId="ADAL" clId="{BF859A91-FA63-4DC9-AD14-A4569BDBEE57}" dt="2025-03-06T15:15:59.997" v="16007" actId="1076"/>
          <ac:spMkLst>
            <pc:docMk/>
            <pc:sldMk cId="4091519663" sldId="8132"/>
            <ac:spMk id="48" creationId="{74470A18-F428-0774-014C-1F69F5529779}"/>
          </ac:spMkLst>
        </pc:spChg>
        <pc:spChg chg="add mod">
          <ac:chgData name="CISNEROS ROJAS, CAMILA GEORGINA" userId="c56cbc2a-55cd-4a0d-b56e-a0bfe880dc94" providerId="ADAL" clId="{BF859A91-FA63-4DC9-AD14-A4569BDBEE57}" dt="2025-03-06T15:15:59.997" v="16007" actId="1076"/>
          <ac:spMkLst>
            <pc:docMk/>
            <pc:sldMk cId="4091519663" sldId="8132"/>
            <ac:spMk id="53" creationId="{C113024F-B81A-AD93-65EA-1D7D6B948F73}"/>
          </ac:spMkLst>
        </pc:spChg>
        <pc:spChg chg="add mod">
          <ac:chgData name="CISNEROS ROJAS, CAMILA GEORGINA" userId="c56cbc2a-55cd-4a0d-b56e-a0bfe880dc94" providerId="ADAL" clId="{BF859A91-FA63-4DC9-AD14-A4569BDBEE57}" dt="2025-03-06T15:15:59.997" v="16007" actId="1076"/>
          <ac:spMkLst>
            <pc:docMk/>
            <pc:sldMk cId="4091519663" sldId="8132"/>
            <ac:spMk id="55" creationId="{7C56BEB2-5479-DAD0-DD1E-EDC46DD23CE1}"/>
          </ac:spMkLst>
        </pc:spChg>
        <pc:spChg chg="add del">
          <ac:chgData name="CISNEROS ROJAS, CAMILA GEORGINA" userId="c56cbc2a-55cd-4a0d-b56e-a0bfe880dc94" providerId="ADAL" clId="{BF859A91-FA63-4DC9-AD14-A4569BDBEE57}" dt="2025-03-05T13:32:46.826" v="2028" actId="478"/>
          <ac:spMkLst>
            <pc:docMk/>
            <pc:sldMk cId="4091519663" sldId="8132"/>
            <ac:spMk id="60" creationId="{7950FCB7-63BB-ADC9-2031-53586902D34D}"/>
          </ac:spMkLst>
        </pc:spChg>
        <pc:spChg chg="add del mod">
          <ac:chgData name="CISNEROS ROJAS, CAMILA GEORGINA" userId="c56cbc2a-55cd-4a0d-b56e-a0bfe880dc94" providerId="ADAL" clId="{BF859A91-FA63-4DC9-AD14-A4569BDBEE57}" dt="2025-03-06T15:15:34.815" v="16005" actId="478"/>
          <ac:spMkLst>
            <pc:docMk/>
            <pc:sldMk cId="4091519663" sldId="8132"/>
            <ac:spMk id="61" creationId="{641217C6-6F8A-DBD6-3DBF-1EF15EFE51C5}"/>
          </ac:spMkLst>
        </pc:spChg>
        <pc:spChg chg="add del mod">
          <ac:chgData name="CISNEROS ROJAS, CAMILA GEORGINA" userId="c56cbc2a-55cd-4a0d-b56e-a0bfe880dc94" providerId="ADAL" clId="{BF859A91-FA63-4DC9-AD14-A4569BDBEE57}" dt="2025-03-06T15:15:34.815" v="16005" actId="478"/>
          <ac:spMkLst>
            <pc:docMk/>
            <pc:sldMk cId="4091519663" sldId="8132"/>
            <ac:spMk id="62" creationId="{0A12D18F-1B8D-9733-EA4D-69E07E774644}"/>
          </ac:spMkLst>
        </pc:spChg>
        <pc:spChg chg="add del mod">
          <ac:chgData name="CISNEROS ROJAS, CAMILA GEORGINA" userId="c56cbc2a-55cd-4a0d-b56e-a0bfe880dc94" providerId="ADAL" clId="{BF859A91-FA63-4DC9-AD14-A4569BDBEE57}" dt="2025-03-06T15:15:34.815" v="16005" actId="478"/>
          <ac:spMkLst>
            <pc:docMk/>
            <pc:sldMk cId="4091519663" sldId="8132"/>
            <ac:spMk id="63" creationId="{AE6B9885-E865-2C04-4E63-CCC881EAF6E1}"/>
          </ac:spMkLst>
        </pc:spChg>
        <pc:spChg chg="add del mod">
          <ac:chgData name="CISNEROS ROJAS, CAMILA GEORGINA" userId="c56cbc2a-55cd-4a0d-b56e-a0bfe880dc94" providerId="ADAL" clId="{BF859A91-FA63-4DC9-AD14-A4569BDBEE57}" dt="2025-03-06T15:15:34.815" v="16005" actId="478"/>
          <ac:spMkLst>
            <pc:docMk/>
            <pc:sldMk cId="4091519663" sldId="8132"/>
            <ac:spMk id="64" creationId="{3A00805F-DE4C-3596-4921-0AB9555EBCBD}"/>
          </ac:spMkLst>
        </pc:spChg>
        <pc:spChg chg="add del mod">
          <ac:chgData name="CISNEROS ROJAS, CAMILA GEORGINA" userId="c56cbc2a-55cd-4a0d-b56e-a0bfe880dc94" providerId="ADAL" clId="{BF859A91-FA63-4DC9-AD14-A4569BDBEE57}" dt="2025-03-06T15:15:34.815" v="16005" actId="478"/>
          <ac:spMkLst>
            <pc:docMk/>
            <pc:sldMk cId="4091519663" sldId="8132"/>
            <ac:spMk id="65" creationId="{2BF795FC-C6E8-124E-417D-EB0FFD89E0AF}"/>
          </ac:spMkLst>
        </pc:spChg>
        <pc:spChg chg="add del mod">
          <ac:chgData name="CISNEROS ROJAS, CAMILA GEORGINA" userId="c56cbc2a-55cd-4a0d-b56e-a0bfe880dc94" providerId="ADAL" clId="{BF859A91-FA63-4DC9-AD14-A4569BDBEE57}" dt="2025-03-05T13:34:50.262" v="2054" actId="478"/>
          <ac:spMkLst>
            <pc:docMk/>
            <pc:sldMk cId="4091519663" sldId="8132"/>
            <ac:spMk id="66" creationId="{AEC18E91-97D4-D222-B1EB-044C639E88F4}"/>
          </ac:spMkLst>
        </pc:spChg>
        <pc:spChg chg="add del mod">
          <ac:chgData name="CISNEROS ROJAS, CAMILA GEORGINA" userId="c56cbc2a-55cd-4a0d-b56e-a0bfe880dc94" providerId="ADAL" clId="{BF859A91-FA63-4DC9-AD14-A4569BDBEE57}" dt="2025-03-06T15:15:34.815" v="16005" actId="478"/>
          <ac:spMkLst>
            <pc:docMk/>
            <pc:sldMk cId="4091519663" sldId="8132"/>
            <ac:spMk id="67" creationId="{08CA22E2-59E9-71F2-B7C4-C5C8BD79176D}"/>
          </ac:spMkLst>
        </pc:spChg>
        <pc:spChg chg="add del mod">
          <ac:chgData name="CISNEROS ROJAS, CAMILA GEORGINA" userId="c56cbc2a-55cd-4a0d-b56e-a0bfe880dc94" providerId="ADAL" clId="{BF859A91-FA63-4DC9-AD14-A4569BDBEE57}" dt="2025-03-05T13:38:27.247" v="2100" actId="478"/>
          <ac:spMkLst>
            <pc:docMk/>
            <pc:sldMk cId="4091519663" sldId="8132"/>
            <ac:spMk id="68" creationId="{148E08FE-8AEF-B3A8-4AA9-EE69640C0827}"/>
          </ac:spMkLst>
        </pc:spChg>
        <pc:spChg chg="add del mod">
          <ac:chgData name="CISNEROS ROJAS, CAMILA GEORGINA" userId="c56cbc2a-55cd-4a0d-b56e-a0bfe880dc94" providerId="ADAL" clId="{BF859A91-FA63-4DC9-AD14-A4569BDBEE57}" dt="2025-03-06T15:15:34.815" v="16005" actId="478"/>
          <ac:spMkLst>
            <pc:docMk/>
            <pc:sldMk cId="4091519663" sldId="8132"/>
            <ac:spMk id="69" creationId="{CF9DE9FA-5AE6-5976-7B44-22D917DE2230}"/>
          </ac:spMkLst>
        </pc:spChg>
        <pc:spChg chg="add del mod">
          <ac:chgData name="CISNEROS ROJAS, CAMILA GEORGINA" userId="c56cbc2a-55cd-4a0d-b56e-a0bfe880dc94" providerId="ADAL" clId="{BF859A91-FA63-4DC9-AD14-A4569BDBEE57}" dt="2025-03-06T15:15:34.815" v="16005" actId="478"/>
          <ac:spMkLst>
            <pc:docMk/>
            <pc:sldMk cId="4091519663" sldId="8132"/>
            <ac:spMk id="70" creationId="{77D9CCCB-F6AB-DFC3-0B82-8D210A1D3F6C}"/>
          </ac:spMkLst>
        </pc:spChg>
        <pc:spChg chg="add del mod">
          <ac:chgData name="CISNEROS ROJAS, CAMILA GEORGINA" userId="c56cbc2a-55cd-4a0d-b56e-a0bfe880dc94" providerId="ADAL" clId="{BF859A91-FA63-4DC9-AD14-A4569BDBEE57}" dt="2025-03-06T15:15:34.815" v="16005" actId="478"/>
          <ac:spMkLst>
            <pc:docMk/>
            <pc:sldMk cId="4091519663" sldId="8132"/>
            <ac:spMk id="71" creationId="{E769281C-D8D2-172C-A8AD-87D78562B5BE}"/>
          </ac:spMkLst>
        </pc:spChg>
        <pc:picChg chg="del">
          <ac:chgData name="CISNEROS ROJAS, CAMILA GEORGINA" userId="c56cbc2a-55cd-4a0d-b56e-a0bfe880dc94" providerId="ADAL" clId="{BF859A91-FA63-4DC9-AD14-A4569BDBEE57}" dt="2025-03-04T21:13:19.916" v="339" actId="478"/>
          <ac:picMkLst>
            <pc:docMk/>
            <pc:sldMk cId="4091519663" sldId="8132"/>
            <ac:picMk id="3" creationId="{42D3F4AE-BA85-6742-50F5-78F4CBDCE790}"/>
          </ac:picMkLst>
        </pc:picChg>
        <pc:picChg chg="add mod">
          <ac:chgData name="CISNEROS ROJAS, CAMILA GEORGINA" userId="c56cbc2a-55cd-4a0d-b56e-a0bfe880dc94" providerId="ADAL" clId="{BF859A91-FA63-4DC9-AD14-A4569BDBEE57}" dt="2025-03-06T15:15:59.997" v="16007" actId="1076"/>
          <ac:picMkLst>
            <pc:docMk/>
            <pc:sldMk cId="4091519663" sldId="8132"/>
            <ac:picMk id="49" creationId="{6C490F23-06FB-4552-DF38-71B48D3E8276}"/>
          </ac:picMkLst>
        </pc:picChg>
        <pc:picChg chg="add mod">
          <ac:chgData name="CISNEROS ROJAS, CAMILA GEORGINA" userId="c56cbc2a-55cd-4a0d-b56e-a0bfe880dc94" providerId="ADAL" clId="{BF859A91-FA63-4DC9-AD14-A4569BDBEE57}" dt="2025-03-06T15:15:59.997" v="16007" actId="1076"/>
          <ac:picMkLst>
            <pc:docMk/>
            <pc:sldMk cId="4091519663" sldId="8132"/>
            <ac:picMk id="50" creationId="{A8D1DDBF-0CBC-E814-8A40-8CE0342E90B0}"/>
          </ac:picMkLst>
        </pc:picChg>
        <pc:picChg chg="add mod">
          <ac:chgData name="CISNEROS ROJAS, CAMILA GEORGINA" userId="c56cbc2a-55cd-4a0d-b56e-a0bfe880dc94" providerId="ADAL" clId="{BF859A91-FA63-4DC9-AD14-A4569BDBEE57}" dt="2025-03-06T15:15:59.997" v="16007" actId="1076"/>
          <ac:picMkLst>
            <pc:docMk/>
            <pc:sldMk cId="4091519663" sldId="8132"/>
            <ac:picMk id="51" creationId="{6C6FEAD6-C254-15AF-79E6-133B1850BEE3}"/>
          </ac:picMkLst>
        </pc:picChg>
        <pc:picChg chg="add mod">
          <ac:chgData name="CISNEROS ROJAS, CAMILA GEORGINA" userId="c56cbc2a-55cd-4a0d-b56e-a0bfe880dc94" providerId="ADAL" clId="{BF859A91-FA63-4DC9-AD14-A4569BDBEE57}" dt="2025-03-06T15:15:59.997" v="16007" actId="1076"/>
          <ac:picMkLst>
            <pc:docMk/>
            <pc:sldMk cId="4091519663" sldId="8132"/>
            <ac:picMk id="52" creationId="{46E05D8A-8273-DE6C-2536-EB6FE0916158}"/>
          </ac:picMkLst>
        </pc:picChg>
        <pc:cxnChg chg="add del mod">
          <ac:chgData name="CISNEROS ROJAS, CAMILA GEORGINA" userId="c56cbc2a-55cd-4a0d-b56e-a0bfe880dc94" providerId="ADAL" clId="{BF859A91-FA63-4DC9-AD14-A4569BDBEE57}" dt="2025-03-05T13:28:09.566" v="1978" actId="478"/>
          <ac:cxnSpMkLst>
            <pc:docMk/>
            <pc:sldMk cId="4091519663" sldId="8132"/>
            <ac:cxnSpMk id="24" creationId="{D72D1CD1-EC5E-2A64-CAE1-884350BCC1FA}"/>
          </ac:cxnSpMkLst>
        </pc:cxnChg>
        <pc:cxnChg chg="add del mod">
          <ac:chgData name="CISNEROS ROJAS, CAMILA GEORGINA" userId="c56cbc2a-55cd-4a0d-b56e-a0bfe880dc94" providerId="ADAL" clId="{BF859A91-FA63-4DC9-AD14-A4569BDBEE57}" dt="2025-03-06T15:15:34.815" v="16005" actId="478"/>
          <ac:cxnSpMkLst>
            <pc:docMk/>
            <pc:sldMk cId="4091519663" sldId="8132"/>
            <ac:cxnSpMk id="26" creationId="{A8A3071C-6B04-EBF7-FD34-4AEECD533DC3}"/>
          </ac:cxnSpMkLst>
        </pc:cxnChg>
        <pc:cxnChg chg="add del mod">
          <ac:chgData name="CISNEROS ROJAS, CAMILA GEORGINA" userId="c56cbc2a-55cd-4a0d-b56e-a0bfe880dc94" providerId="ADAL" clId="{BF859A91-FA63-4DC9-AD14-A4569BDBEE57}" dt="2025-03-06T15:15:34.815" v="16005" actId="478"/>
          <ac:cxnSpMkLst>
            <pc:docMk/>
            <pc:sldMk cId="4091519663" sldId="8132"/>
            <ac:cxnSpMk id="29" creationId="{8F661E42-BE05-CC33-525C-02D075382061}"/>
          </ac:cxnSpMkLst>
        </pc:cxnChg>
        <pc:cxnChg chg="add del mod">
          <ac:chgData name="CISNEROS ROJAS, CAMILA GEORGINA" userId="c56cbc2a-55cd-4a0d-b56e-a0bfe880dc94" providerId="ADAL" clId="{BF859A91-FA63-4DC9-AD14-A4569BDBEE57}" dt="2025-03-06T15:15:34.815" v="16005" actId="478"/>
          <ac:cxnSpMkLst>
            <pc:docMk/>
            <pc:sldMk cId="4091519663" sldId="8132"/>
            <ac:cxnSpMk id="32" creationId="{079DDD13-F027-208C-5AF2-E61AAFBDB67C}"/>
          </ac:cxnSpMkLst>
        </pc:cxnChg>
        <pc:cxnChg chg="add del mod">
          <ac:chgData name="CISNEROS ROJAS, CAMILA GEORGINA" userId="c56cbc2a-55cd-4a0d-b56e-a0bfe880dc94" providerId="ADAL" clId="{BF859A91-FA63-4DC9-AD14-A4569BDBEE57}" dt="2025-03-06T15:15:34.815" v="16005" actId="478"/>
          <ac:cxnSpMkLst>
            <pc:docMk/>
            <pc:sldMk cId="4091519663" sldId="8132"/>
            <ac:cxnSpMk id="42" creationId="{1981C7D5-5C0D-421E-6F45-C3A15F6EE7CF}"/>
          </ac:cxnSpMkLst>
        </pc:cxnChg>
        <pc:cxnChg chg="add del mod">
          <ac:chgData name="CISNEROS ROJAS, CAMILA GEORGINA" userId="c56cbc2a-55cd-4a0d-b56e-a0bfe880dc94" providerId="ADAL" clId="{BF859A91-FA63-4DC9-AD14-A4569BDBEE57}" dt="2025-03-06T15:15:34.815" v="16005" actId="478"/>
          <ac:cxnSpMkLst>
            <pc:docMk/>
            <pc:sldMk cId="4091519663" sldId="8132"/>
            <ac:cxnSpMk id="45" creationId="{1F088611-F2D7-619B-C52A-BBDBF4FF20D5}"/>
          </ac:cxnSpMkLst>
        </pc:cxnChg>
        <pc:cxnChg chg="add del mod">
          <ac:chgData name="CISNEROS ROJAS, CAMILA GEORGINA" userId="c56cbc2a-55cd-4a0d-b56e-a0bfe880dc94" providerId="ADAL" clId="{BF859A91-FA63-4DC9-AD14-A4569BDBEE57}" dt="2025-03-05T13:30:50.750" v="2008" actId="11529"/>
          <ac:cxnSpMkLst>
            <pc:docMk/>
            <pc:sldMk cId="4091519663" sldId="8132"/>
            <ac:cxnSpMk id="48" creationId="{9180F964-0AD0-2650-C259-A3B39A274AF4}"/>
          </ac:cxnSpMkLst>
        </pc:cxnChg>
        <pc:cxnChg chg="add del mod">
          <ac:chgData name="CISNEROS ROJAS, CAMILA GEORGINA" userId="c56cbc2a-55cd-4a0d-b56e-a0bfe880dc94" providerId="ADAL" clId="{BF859A91-FA63-4DC9-AD14-A4569BDBEE57}" dt="2025-03-05T13:31:50.856" v="2019" actId="478"/>
          <ac:cxnSpMkLst>
            <pc:docMk/>
            <pc:sldMk cId="4091519663" sldId="8132"/>
            <ac:cxnSpMk id="50" creationId="{2E2495B4-34AF-E0E0-ECFF-A6B58F8DF247}"/>
          </ac:cxnSpMkLst>
        </pc:cxnChg>
        <pc:cxnChg chg="add del mod">
          <ac:chgData name="CISNEROS ROJAS, CAMILA GEORGINA" userId="c56cbc2a-55cd-4a0d-b56e-a0bfe880dc94" providerId="ADAL" clId="{BF859A91-FA63-4DC9-AD14-A4569BDBEE57}" dt="2025-03-06T15:15:34.815" v="16005" actId="478"/>
          <ac:cxnSpMkLst>
            <pc:docMk/>
            <pc:sldMk cId="4091519663" sldId="8132"/>
            <ac:cxnSpMk id="54" creationId="{63929A99-C76F-93D9-3577-43AC033EA2D6}"/>
          </ac:cxnSpMkLst>
        </pc:cxnChg>
      </pc:sldChg>
      <pc:sldChg chg="modSp mod">
        <pc:chgData name="CISNEROS ROJAS, CAMILA GEORGINA" userId="c56cbc2a-55cd-4a0d-b56e-a0bfe880dc94" providerId="ADAL" clId="{BF859A91-FA63-4DC9-AD14-A4569BDBEE57}" dt="2025-03-04T20:59:05.451" v="216" actId="20577"/>
        <pc:sldMkLst>
          <pc:docMk/>
          <pc:sldMk cId="1678311024" sldId="8136"/>
        </pc:sldMkLst>
        <pc:spChg chg="mod">
          <ac:chgData name="CISNEROS ROJAS, CAMILA GEORGINA" userId="c56cbc2a-55cd-4a0d-b56e-a0bfe880dc94" providerId="ADAL" clId="{BF859A91-FA63-4DC9-AD14-A4569BDBEE57}" dt="2025-03-04T20:59:05.451" v="216" actId="20577"/>
          <ac:spMkLst>
            <pc:docMk/>
            <pc:sldMk cId="1678311024" sldId="8136"/>
            <ac:spMk id="4" creationId="{19A7A5CC-C7F1-1A88-CF54-31D5B8150FAD}"/>
          </ac:spMkLst>
        </pc:spChg>
      </pc:sldChg>
      <pc:sldChg chg="del">
        <pc:chgData name="CISNEROS ROJAS, CAMILA GEORGINA" userId="c56cbc2a-55cd-4a0d-b56e-a0bfe880dc94" providerId="ADAL" clId="{BF859A91-FA63-4DC9-AD14-A4569BDBEE57}" dt="2025-03-06T15:07:21.266" v="15921" actId="2696"/>
        <pc:sldMkLst>
          <pc:docMk/>
          <pc:sldMk cId="2105858830" sldId="8144"/>
        </pc:sldMkLst>
      </pc:sldChg>
      <pc:sldChg chg="del">
        <pc:chgData name="CISNEROS ROJAS, CAMILA GEORGINA" userId="c56cbc2a-55cd-4a0d-b56e-a0bfe880dc94" providerId="ADAL" clId="{BF859A91-FA63-4DC9-AD14-A4569BDBEE57}" dt="2025-03-06T15:07:21.266" v="15921" actId="2696"/>
        <pc:sldMkLst>
          <pc:docMk/>
          <pc:sldMk cId="1445624873" sldId="8146"/>
        </pc:sldMkLst>
      </pc:sldChg>
      <pc:sldChg chg="del">
        <pc:chgData name="CISNEROS ROJAS, CAMILA GEORGINA" userId="c56cbc2a-55cd-4a0d-b56e-a0bfe880dc94" providerId="ADAL" clId="{BF859A91-FA63-4DC9-AD14-A4569BDBEE57}" dt="2025-03-06T15:07:39.570" v="15922" actId="2696"/>
        <pc:sldMkLst>
          <pc:docMk/>
          <pc:sldMk cId="1321286741" sldId="8151"/>
        </pc:sldMkLst>
      </pc:sldChg>
      <pc:sldChg chg="del">
        <pc:chgData name="CISNEROS ROJAS, CAMILA GEORGINA" userId="c56cbc2a-55cd-4a0d-b56e-a0bfe880dc94" providerId="ADAL" clId="{BF859A91-FA63-4DC9-AD14-A4569BDBEE57}" dt="2025-03-06T15:07:39.570" v="15922" actId="2696"/>
        <pc:sldMkLst>
          <pc:docMk/>
          <pc:sldMk cId="550098848" sldId="8152"/>
        </pc:sldMkLst>
      </pc:sldChg>
      <pc:sldChg chg="addSp delSp modSp add del mod">
        <pc:chgData name="CISNEROS ROJAS, CAMILA GEORGINA" userId="c56cbc2a-55cd-4a0d-b56e-a0bfe880dc94" providerId="ADAL" clId="{BF859A91-FA63-4DC9-AD14-A4569BDBEE57}" dt="2025-03-06T15:12:05.544" v="15927" actId="2696"/>
        <pc:sldMkLst>
          <pc:docMk/>
          <pc:sldMk cId="3685044949" sldId="8155"/>
        </pc:sldMkLst>
        <pc:spChg chg="mod">
          <ac:chgData name="CISNEROS ROJAS, CAMILA GEORGINA" userId="c56cbc2a-55cd-4a0d-b56e-a0bfe880dc94" providerId="ADAL" clId="{BF859A91-FA63-4DC9-AD14-A4569BDBEE57}" dt="2025-03-04T21:13:05.043" v="338" actId="1076"/>
          <ac:spMkLst>
            <pc:docMk/>
            <pc:sldMk cId="3685044949" sldId="8155"/>
            <ac:spMk id="3" creationId="{A74000BB-01C3-44BA-816C-04CA7BEBCF72}"/>
          </ac:spMkLst>
        </pc:spChg>
        <pc:spChg chg="add mod">
          <ac:chgData name="CISNEROS ROJAS, CAMILA GEORGINA" userId="c56cbc2a-55cd-4a0d-b56e-a0bfe880dc94" providerId="ADAL" clId="{BF859A91-FA63-4DC9-AD14-A4569BDBEE57}" dt="2025-03-04T21:13:05.043" v="338" actId="1076"/>
          <ac:spMkLst>
            <pc:docMk/>
            <pc:sldMk cId="3685044949" sldId="8155"/>
            <ac:spMk id="8" creationId="{3CC9AC92-9B22-FF52-760D-B2AFF98D0894}"/>
          </ac:spMkLst>
        </pc:spChg>
        <pc:spChg chg="mod">
          <ac:chgData name="CISNEROS ROJAS, CAMILA GEORGINA" userId="c56cbc2a-55cd-4a0d-b56e-a0bfe880dc94" providerId="ADAL" clId="{BF859A91-FA63-4DC9-AD14-A4569BDBEE57}" dt="2025-03-04T21:09:15.319" v="232" actId="20577"/>
          <ac:spMkLst>
            <pc:docMk/>
            <pc:sldMk cId="3685044949" sldId="8155"/>
            <ac:spMk id="9" creationId="{2CCD0179-02F2-8188-2F3C-5EC85CFAEB28}"/>
          </ac:spMkLst>
        </pc:spChg>
        <pc:spChg chg="add mod">
          <ac:chgData name="CISNEROS ROJAS, CAMILA GEORGINA" userId="c56cbc2a-55cd-4a0d-b56e-a0bfe880dc94" providerId="ADAL" clId="{BF859A91-FA63-4DC9-AD14-A4569BDBEE57}" dt="2025-03-04T21:13:05.043" v="338" actId="1076"/>
          <ac:spMkLst>
            <pc:docMk/>
            <pc:sldMk cId="3685044949" sldId="8155"/>
            <ac:spMk id="10" creationId="{E9451603-FDBA-AC2E-8793-9B6A7A845926}"/>
          </ac:spMkLst>
        </pc:spChg>
        <pc:spChg chg="del">
          <ac:chgData name="CISNEROS ROJAS, CAMILA GEORGINA" userId="c56cbc2a-55cd-4a0d-b56e-a0bfe880dc94" providerId="ADAL" clId="{BF859A91-FA63-4DC9-AD14-A4569BDBEE57}" dt="2025-03-04T21:09:21.473" v="234" actId="478"/>
          <ac:spMkLst>
            <pc:docMk/>
            <pc:sldMk cId="3685044949" sldId="8155"/>
            <ac:spMk id="11" creationId="{DB2AFE03-F3DA-ED5E-0F58-FB1B85F2393B}"/>
          </ac:spMkLst>
        </pc:spChg>
        <pc:spChg chg="del">
          <ac:chgData name="CISNEROS ROJAS, CAMILA GEORGINA" userId="c56cbc2a-55cd-4a0d-b56e-a0bfe880dc94" providerId="ADAL" clId="{BF859A91-FA63-4DC9-AD14-A4569BDBEE57}" dt="2025-03-04T21:09:21.473" v="234" actId="478"/>
          <ac:spMkLst>
            <pc:docMk/>
            <pc:sldMk cId="3685044949" sldId="8155"/>
            <ac:spMk id="12" creationId="{2A5F4AE4-3F90-D5B0-F07F-FF52C44102BB}"/>
          </ac:spMkLst>
        </pc:spChg>
        <pc:spChg chg="del">
          <ac:chgData name="CISNEROS ROJAS, CAMILA GEORGINA" userId="c56cbc2a-55cd-4a0d-b56e-a0bfe880dc94" providerId="ADAL" clId="{BF859A91-FA63-4DC9-AD14-A4569BDBEE57}" dt="2025-03-04T21:09:21.473" v="234" actId="478"/>
          <ac:spMkLst>
            <pc:docMk/>
            <pc:sldMk cId="3685044949" sldId="8155"/>
            <ac:spMk id="13" creationId="{C8A49855-0EE7-D7DF-868F-8404FC0A1B83}"/>
          </ac:spMkLst>
        </pc:spChg>
        <pc:spChg chg="add mod">
          <ac:chgData name="CISNEROS ROJAS, CAMILA GEORGINA" userId="c56cbc2a-55cd-4a0d-b56e-a0bfe880dc94" providerId="ADAL" clId="{BF859A91-FA63-4DC9-AD14-A4569BDBEE57}" dt="2025-03-04T21:13:05.043" v="338" actId="1076"/>
          <ac:spMkLst>
            <pc:docMk/>
            <pc:sldMk cId="3685044949" sldId="8155"/>
            <ac:spMk id="15" creationId="{47583CE3-6794-0039-DC60-5344AAE60F46}"/>
          </ac:spMkLst>
        </pc:spChg>
        <pc:grpChg chg="del">
          <ac:chgData name="CISNEROS ROJAS, CAMILA GEORGINA" userId="c56cbc2a-55cd-4a0d-b56e-a0bfe880dc94" providerId="ADAL" clId="{BF859A91-FA63-4DC9-AD14-A4569BDBEE57}" dt="2025-03-04T21:09:17.570" v="233" actId="478"/>
          <ac:grpSpMkLst>
            <pc:docMk/>
            <pc:sldMk cId="3685044949" sldId="8155"/>
            <ac:grpSpMk id="5" creationId="{BDABAC93-1BB8-2F18-6BD4-09E145557CDE}"/>
          </ac:grpSpMkLst>
        </pc:grpChg>
        <pc:picChg chg="add mod">
          <ac:chgData name="CISNEROS ROJAS, CAMILA GEORGINA" userId="c56cbc2a-55cd-4a0d-b56e-a0bfe880dc94" providerId="ADAL" clId="{BF859A91-FA63-4DC9-AD14-A4569BDBEE57}" dt="2025-03-04T21:13:05.043" v="338" actId="1076"/>
          <ac:picMkLst>
            <pc:docMk/>
            <pc:sldMk cId="3685044949" sldId="8155"/>
            <ac:picMk id="6" creationId="{2102D931-094B-7790-56AC-D3FCFDB5B0F2}"/>
          </ac:picMkLst>
        </pc:picChg>
        <pc:picChg chg="add mod modCrop">
          <ac:chgData name="CISNEROS ROJAS, CAMILA GEORGINA" userId="c56cbc2a-55cd-4a0d-b56e-a0bfe880dc94" providerId="ADAL" clId="{BF859A91-FA63-4DC9-AD14-A4569BDBEE57}" dt="2025-03-04T21:13:05.043" v="338" actId="1076"/>
          <ac:picMkLst>
            <pc:docMk/>
            <pc:sldMk cId="3685044949" sldId="8155"/>
            <ac:picMk id="7" creationId="{92564DFA-20B0-C84E-93F0-A36F996BB290}"/>
          </ac:picMkLst>
        </pc:picChg>
        <pc:picChg chg="add mod">
          <ac:chgData name="CISNEROS ROJAS, CAMILA GEORGINA" userId="c56cbc2a-55cd-4a0d-b56e-a0bfe880dc94" providerId="ADAL" clId="{BF859A91-FA63-4DC9-AD14-A4569BDBEE57}" dt="2025-03-04T21:13:05.043" v="338" actId="1076"/>
          <ac:picMkLst>
            <pc:docMk/>
            <pc:sldMk cId="3685044949" sldId="8155"/>
            <ac:picMk id="14" creationId="{3B873D7A-EA2D-F34C-2526-637B875B1C07}"/>
          </ac:picMkLst>
        </pc:picChg>
      </pc:sldChg>
      <pc:sldChg chg="add">
        <pc:chgData name="CISNEROS ROJAS, CAMILA GEORGINA" userId="c56cbc2a-55cd-4a0d-b56e-a0bfe880dc94" providerId="ADAL" clId="{BF859A91-FA63-4DC9-AD14-A4569BDBEE57}" dt="2025-03-04T21:13:30.503" v="340" actId="2890"/>
        <pc:sldMkLst>
          <pc:docMk/>
          <pc:sldMk cId="1046365775" sldId="8156"/>
        </pc:sldMkLst>
      </pc:sldChg>
      <pc:sldChg chg="addSp delSp modSp add mod ord">
        <pc:chgData name="CISNEROS ROJAS, CAMILA GEORGINA" userId="c56cbc2a-55cd-4a0d-b56e-a0bfe880dc94" providerId="ADAL" clId="{BF859A91-FA63-4DC9-AD14-A4569BDBEE57}" dt="2025-03-06T16:18:28.551" v="16579" actId="108"/>
        <pc:sldMkLst>
          <pc:docMk/>
          <pc:sldMk cId="3430660887" sldId="8157"/>
        </pc:sldMkLst>
        <pc:spChg chg="mod">
          <ac:chgData name="CISNEROS ROJAS, CAMILA GEORGINA" userId="c56cbc2a-55cd-4a0d-b56e-a0bfe880dc94" providerId="ADAL" clId="{BF859A91-FA63-4DC9-AD14-A4569BDBEE57}" dt="2025-03-06T15:13:05.815" v="15935" actId="1076"/>
          <ac:spMkLst>
            <pc:docMk/>
            <pc:sldMk cId="3430660887" sldId="8157"/>
            <ac:spMk id="9" creationId="{2CCD0179-02F2-8188-2F3C-5EC85CFAEB28}"/>
          </ac:spMkLst>
        </pc:spChg>
        <pc:spChg chg="add mod">
          <ac:chgData name="CISNEROS ROJAS, CAMILA GEORGINA" userId="c56cbc2a-55cd-4a0d-b56e-a0bfe880dc94" providerId="ADAL" clId="{BF859A91-FA63-4DC9-AD14-A4569BDBEE57}" dt="2025-03-06T14:05:15.966" v="14576" actId="1076"/>
          <ac:spMkLst>
            <pc:docMk/>
            <pc:sldMk cId="3430660887" sldId="8157"/>
            <ac:spMk id="11" creationId="{35719834-6600-41DD-9EA4-AF3AC7DCB6D5}"/>
          </ac:spMkLst>
        </pc:spChg>
        <pc:spChg chg="add mod">
          <ac:chgData name="CISNEROS ROJAS, CAMILA GEORGINA" userId="c56cbc2a-55cd-4a0d-b56e-a0bfe880dc94" providerId="ADAL" clId="{BF859A91-FA63-4DC9-AD14-A4569BDBEE57}" dt="2025-03-06T15:14:37.752" v="16001" actId="1076"/>
          <ac:spMkLst>
            <pc:docMk/>
            <pc:sldMk cId="3430660887" sldId="8157"/>
            <ac:spMk id="12" creationId="{B3BAA5DC-776B-1815-E428-83FE4F3A41FE}"/>
          </ac:spMkLst>
        </pc:spChg>
        <pc:picChg chg="add del mod modCrop">
          <ac:chgData name="CISNEROS ROJAS, CAMILA GEORGINA" userId="c56cbc2a-55cd-4a0d-b56e-a0bfe880dc94" providerId="ADAL" clId="{BF859A91-FA63-4DC9-AD14-A4569BDBEE57}" dt="2025-03-06T13:31:03.059" v="14271" actId="478"/>
          <ac:picMkLst>
            <pc:docMk/>
            <pc:sldMk cId="3430660887" sldId="8157"/>
            <ac:picMk id="2" creationId="{82902A5A-810B-48D1-E9FC-2C78A5FAB488}"/>
          </ac:picMkLst>
        </pc:picChg>
        <pc:picChg chg="add del">
          <ac:chgData name="CISNEROS ROJAS, CAMILA GEORGINA" userId="c56cbc2a-55cd-4a0d-b56e-a0bfe880dc94" providerId="ADAL" clId="{BF859A91-FA63-4DC9-AD14-A4569BDBEE57}" dt="2025-03-05T15:54:39.881" v="3216" actId="478"/>
          <ac:picMkLst>
            <pc:docMk/>
            <pc:sldMk cId="3430660887" sldId="8157"/>
            <ac:picMk id="3" creationId="{9E10723B-6E2E-5B2B-72E4-3499AC0802FB}"/>
          </ac:picMkLst>
        </pc:picChg>
        <pc:picChg chg="add del mod">
          <ac:chgData name="CISNEROS ROJAS, CAMILA GEORGINA" userId="c56cbc2a-55cd-4a0d-b56e-a0bfe880dc94" providerId="ADAL" clId="{BF859A91-FA63-4DC9-AD14-A4569BDBEE57}" dt="2025-03-06T16:18:19.898" v="16576" actId="478"/>
          <ac:picMkLst>
            <pc:docMk/>
            <pc:sldMk cId="3430660887" sldId="8157"/>
            <ac:picMk id="4" creationId="{879503A4-36A7-6073-CDE5-6C408E7F6E05}"/>
          </ac:picMkLst>
        </pc:picChg>
        <pc:picChg chg="add del mod modCrop">
          <ac:chgData name="CISNEROS ROJAS, CAMILA GEORGINA" userId="c56cbc2a-55cd-4a0d-b56e-a0bfe880dc94" providerId="ADAL" clId="{BF859A91-FA63-4DC9-AD14-A4569BDBEE57}" dt="2025-03-06T13:30:46.043" v="14264" actId="478"/>
          <ac:picMkLst>
            <pc:docMk/>
            <pc:sldMk cId="3430660887" sldId="8157"/>
            <ac:picMk id="5" creationId="{F883751B-163D-3E6A-349A-281C9C40D932}"/>
          </ac:picMkLst>
        </pc:picChg>
        <pc:picChg chg="add del mod">
          <ac:chgData name="CISNEROS ROJAS, CAMILA GEORGINA" userId="c56cbc2a-55cd-4a0d-b56e-a0bfe880dc94" providerId="ADAL" clId="{BF859A91-FA63-4DC9-AD14-A4569BDBEE57}" dt="2025-03-06T13:34:14.749" v="14281" actId="478"/>
          <ac:picMkLst>
            <pc:docMk/>
            <pc:sldMk cId="3430660887" sldId="8157"/>
            <ac:picMk id="7" creationId="{65FD4B88-F434-719D-E561-5F603FA13C59}"/>
          </ac:picMkLst>
        </pc:picChg>
        <pc:picChg chg="add mod">
          <ac:chgData name="CISNEROS ROJAS, CAMILA GEORGINA" userId="c56cbc2a-55cd-4a0d-b56e-a0bfe880dc94" providerId="ADAL" clId="{BF859A91-FA63-4DC9-AD14-A4569BDBEE57}" dt="2025-03-06T15:14:16.536" v="15996" actId="1076"/>
          <ac:picMkLst>
            <pc:docMk/>
            <pc:sldMk cId="3430660887" sldId="8157"/>
            <ac:picMk id="10" creationId="{4D09A997-E931-8FF8-9F55-D48829967F7A}"/>
          </ac:picMkLst>
        </pc:picChg>
        <pc:picChg chg="add mod">
          <ac:chgData name="CISNEROS ROJAS, CAMILA GEORGINA" userId="c56cbc2a-55cd-4a0d-b56e-a0bfe880dc94" providerId="ADAL" clId="{BF859A91-FA63-4DC9-AD14-A4569BDBEE57}" dt="2025-03-06T16:18:28.551" v="16579" actId="108"/>
          <ac:picMkLst>
            <pc:docMk/>
            <pc:sldMk cId="3430660887" sldId="8157"/>
            <ac:picMk id="14" creationId="{98FABF39-7014-5315-2E03-73453D541E39}"/>
          </ac:picMkLst>
        </pc:picChg>
      </pc:sldChg>
      <pc:sldChg chg="addSp modSp add del mod">
        <pc:chgData name="CISNEROS ROJAS, CAMILA GEORGINA" userId="c56cbc2a-55cd-4a0d-b56e-a0bfe880dc94" providerId="ADAL" clId="{BF859A91-FA63-4DC9-AD14-A4569BDBEE57}" dt="2025-03-06T14:15:40.331" v="14784" actId="2696"/>
        <pc:sldMkLst>
          <pc:docMk/>
          <pc:sldMk cId="3777789229" sldId="8158"/>
        </pc:sldMkLst>
        <pc:spChg chg="add mod">
          <ac:chgData name="CISNEROS ROJAS, CAMILA GEORGINA" userId="c56cbc2a-55cd-4a0d-b56e-a0bfe880dc94" providerId="ADAL" clId="{BF859A91-FA63-4DC9-AD14-A4569BDBEE57}" dt="2025-03-06T13:29:38.653" v="14263" actId="1076"/>
          <ac:spMkLst>
            <pc:docMk/>
            <pc:sldMk cId="3777789229" sldId="8158"/>
            <ac:spMk id="2" creationId="{9917B3B6-F257-86AD-DE62-7AE32EC92B67}"/>
          </ac:spMkLst>
        </pc:spChg>
        <pc:spChg chg="mod">
          <ac:chgData name="CISNEROS ROJAS, CAMILA GEORGINA" userId="c56cbc2a-55cd-4a0d-b56e-a0bfe880dc94" providerId="ADAL" clId="{BF859A91-FA63-4DC9-AD14-A4569BDBEE57}" dt="2025-03-04T21:17:12.777" v="662" actId="20577"/>
          <ac:spMkLst>
            <pc:docMk/>
            <pc:sldMk cId="3777789229" sldId="8158"/>
            <ac:spMk id="9" creationId="{2CCD0179-02F2-8188-2F3C-5EC85CFAEB28}"/>
          </ac:spMkLst>
        </pc:spChg>
      </pc:sldChg>
      <pc:sldChg chg="addSp modSp add del mod">
        <pc:chgData name="CISNEROS ROJAS, CAMILA GEORGINA" userId="c56cbc2a-55cd-4a0d-b56e-a0bfe880dc94" providerId="ADAL" clId="{BF859A91-FA63-4DC9-AD14-A4569BDBEE57}" dt="2025-03-06T14:15:44.140" v="14785" actId="2696"/>
        <pc:sldMkLst>
          <pc:docMk/>
          <pc:sldMk cId="1857969393" sldId="8159"/>
        </pc:sldMkLst>
        <pc:spChg chg="add mod">
          <ac:chgData name="CISNEROS ROJAS, CAMILA GEORGINA" userId="c56cbc2a-55cd-4a0d-b56e-a0bfe880dc94" providerId="ADAL" clId="{BF859A91-FA63-4DC9-AD14-A4569BDBEE57}" dt="2025-03-05T13:47:36.199" v="2456" actId="1076"/>
          <ac:spMkLst>
            <pc:docMk/>
            <pc:sldMk cId="1857969393" sldId="8159"/>
            <ac:spMk id="2" creationId="{7B3DF56F-FDD8-1044-45E8-E2F484C82658}"/>
          </ac:spMkLst>
        </pc:spChg>
      </pc:sldChg>
      <pc:sldChg chg="modSp add del mod ord">
        <pc:chgData name="CISNEROS ROJAS, CAMILA GEORGINA" userId="c56cbc2a-55cd-4a0d-b56e-a0bfe880dc94" providerId="ADAL" clId="{BF859A91-FA63-4DC9-AD14-A4569BDBEE57}" dt="2025-03-06T15:09:39.714" v="15926" actId="2696"/>
        <pc:sldMkLst>
          <pc:docMk/>
          <pc:sldMk cId="1067569481" sldId="8160"/>
        </pc:sldMkLst>
        <pc:spChg chg="mod">
          <ac:chgData name="CISNEROS ROJAS, CAMILA GEORGINA" userId="c56cbc2a-55cd-4a0d-b56e-a0bfe880dc94" providerId="ADAL" clId="{BF859A91-FA63-4DC9-AD14-A4569BDBEE57}" dt="2025-03-05T14:02:47.865" v="2516" actId="20577"/>
          <ac:spMkLst>
            <pc:docMk/>
            <pc:sldMk cId="1067569481" sldId="8160"/>
            <ac:spMk id="2" creationId="{9E35DCEA-11FB-375E-BA08-3B2B59711278}"/>
          </ac:spMkLst>
        </pc:spChg>
      </pc:sldChg>
      <pc:sldChg chg="modSp add del mod">
        <pc:chgData name="CISNEROS ROJAS, CAMILA GEORGINA" userId="c56cbc2a-55cd-4a0d-b56e-a0bfe880dc94" providerId="ADAL" clId="{BF859A91-FA63-4DC9-AD14-A4569BDBEE57}" dt="2025-03-06T15:09:39.714" v="15926" actId="2696"/>
        <pc:sldMkLst>
          <pc:docMk/>
          <pc:sldMk cId="3264971477" sldId="8161"/>
        </pc:sldMkLst>
        <pc:spChg chg="mod">
          <ac:chgData name="CISNEROS ROJAS, CAMILA GEORGINA" userId="c56cbc2a-55cd-4a0d-b56e-a0bfe880dc94" providerId="ADAL" clId="{BF859A91-FA63-4DC9-AD14-A4569BDBEE57}" dt="2025-03-05T14:08:31.450" v="2531" actId="20577"/>
          <ac:spMkLst>
            <pc:docMk/>
            <pc:sldMk cId="3264971477" sldId="8161"/>
            <ac:spMk id="2" creationId="{9E35DCEA-11FB-375E-BA08-3B2B59711278}"/>
          </ac:spMkLst>
        </pc:spChg>
      </pc:sldChg>
      <pc:sldChg chg="addSp delSp modSp new del mod ord">
        <pc:chgData name="CISNEROS ROJAS, CAMILA GEORGINA" userId="c56cbc2a-55cd-4a0d-b56e-a0bfe880dc94" providerId="ADAL" clId="{BF859A91-FA63-4DC9-AD14-A4569BDBEE57}" dt="2025-03-06T15:08:06.756" v="15923" actId="2696"/>
        <pc:sldMkLst>
          <pc:docMk/>
          <pc:sldMk cId="726809341" sldId="8162"/>
        </pc:sldMkLst>
        <pc:spChg chg="mod">
          <ac:chgData name="CISNEROS ROJAS, CAMILA GEORGINA" userId="c56cbc2a-55cd-4a0d-b56e-a0bfe880dc94" providerId="ADAL" clId="{BF859A91-FA63-4DC9-AD14-A4569BDBEE57}" dt="2025-03-05T14:16:49.457" v="2671" actId="20577"/>
          <ac:spMkLst>
            <pc:docMk/>
            <pc:sldMk cId="726809341" sldId="8162"/>
            <ac:spMk id="2" creationId="{89EBE603-089C-5D25-AA9E-C07DE9602E7F}"/>
          </ac:spMkLst>
        </pc:spChg>
        <pc:spChg chg="del mod">
          <ac:chgData name="CISNEROS ROJAS, CAMILA GEORGINA" userId="c56cbc2a-55cd-4a0d-b56e-a0bfe880dc94" providerId="ADAL" clId="{BF859A91-FA63-4DC9-AD14-A4569BDBEE57}" dt="2025-03-05T14:16:53.655" v="2672" actId="478"/>
          <ac:spMkLst>
            <pc:docMk/>
            <pc:sldMk cId="726809341" sldId="8162"/>
            <ac:spMk id="3" creationId="{7DD798CB-853E-1E26-E1A5-972579C17E2C}"/>
          </ac:spMkLst>
        </pc:spChg>
        <pc:spChg chg="add del mod">
          <ac:chgData name="CISNEROS ROJAS, CAMILA GEORGINA" userId="c56cbc2a-55cd-4a0d-b56e-a0bfe880dc94" providerId="ADAL" clId="{BF859A91-FA63-4DC9-AD14-A4569BDBEE57}" dt="2025-03-05T14:17:44.982" v="2681" actId="478"/>
          <ac:spMkLst>
            <pc:docMk/>
            <pc:sldMk cId="726809341" sldId="8162"/>
            <ac:spMk id="7" creationId="{2D71AEB9-954B-2BFD-BA7E-0BAD9F3BEB8D}"/>
          </ac:spMkLst>
        </pc:spChg>
        <pc:spChg chg="add mod">
          <ac:chgData name="CISNEROS ROJAS, CAMILA GEORGINA" userId="c56cbc2a-55cd-4a0d-b56e-a0bfe880dc94" providerId="ADAL" clId="{BF859A91-FA63-4DC9-AD14-A4569BDBEE57}" dt="2025-03-05T14:20:18.140" v="2715" actId="20577"/>
          <ac:spMkLst>
            <pc:docMk/>
            <pc:sldMk cId="726809341" sldId="8162"/>
            <ac:spMk id="8" creationId="{91515ECF-90CE-B802-A11A-67765296B0FC}"/>
          </ac:spMkLst>
        </pc:spChg>
        <pc:spChg chg="add mod">
          <ac:chgData name="CISNEROS ROJAS, CAMILA GEORGINA" userId="c56cbc2a-55cd-4a0d-b56e-a0bfe880dc94" providerId="ADAL" clId="{BF859A91-FA63-4DC9-AD14-A4569BDBEE57}" dt="2025-03-05T14:20:05.564" v="2709" actId="1076"/>
          <ac:spMkLst>
            <pc:docMk/>
            <pc:sldMk cId="726809341" sldId="8162"/>
            <ac:spMk id="9" creationId="{3FAE1F21-9820-4D97-39EC-99FECD19C6F5}"/>
          </ac:spMkLst>
        </pc:spChg>
        <pc:spChg chg="add mod">
          <ac:chgData name="CISNEROS ROJAS, CAMILA GEORGINA" userId="c56cbc2a-55cd-4a0d-b56e-a0bfe880dc94" providerId="ADAL" clId="{BF859A91-FA63-4DC9-AD14-A4569BDBEE57}" dt="2025-03-05T14:20:02.481" v="2708" actId="1076"/>
          <ac:spMkLst>
            <pc:docMk/>
            <pc:sldMk cId="726809341" sldId="8162"/>
            <ac:spMk id="11" creationId="{9B3095B0-4877-7B1A-BE98-456A4F3508AF}"/>
          </ac:spMkLst>
        </pc:spChg>
        <pc:grpChg chg="add mod">
          <ac:chgData name="CISNEROS ROJAS, CAMILA GEORGINA" userId="c56cbc2a-55cd-4a0d-b56e-a0bfe880dc94" providerId="ADAL" clId="{BF859A91-FA63-4DC9-AD14-A4569BDBEE57}" dt="2025-03-05T14:16:58.074" v="2673"/>
          <ac:grpSpMkLst>
            <pc:docMk/>
            <pc:sldMk cId="726809341" sldId="8162"/>
            <ac:grpSpMk id="4" creationId="{F1EF9248-ABCD-95A3-AE1E-1282B8AF8A50}"/>
          </ac:grpSpMkLst>
        </pc:grpChg>
        <pc:picChg chg="mod">
          <ac:chgData name="CISNEROS ROJAS, CAMILA GEORGINA" userId="c56cbc2a-55cd-4a0d-b56e-a0bfe880dc94" providerId="ADAL" clId="{BF859A91-FA63-4DC9-AD14-A4569BDBEE57}" dt="2025-03-05T14:16:58.074" v="2673"/>
          <ac:picMkLst>
            <pc:docMk/>
            <pc:sldMk cId="726809341" sldId="8162"/>
            <ac:picMk id="5" creationId="{6D396E3D-DA5F-F178-F076-3F7568E0434F}"/>
          </ac:picMkLst>
        </pc:picChg>
        <pc:picChg chg="mod">
          <ac:chgData name="CISNEROS ROJAS, CAMILA GEORGINA" userId="c56cbc2a-55cd-4a0d-b56e-a0bfe880dc94" providerId="ADAL" clId="{BF859A91-FA63-4DC9-AD14-A4569BDBEE57}" dt="2025-03-05T14:16:58.074" v="2673"/>
          <ac:picMkLst>
            <pc:docMk/>
            <pc:sldMk cId="726809341" sldId="8162"/>
            <ac:picMk id="6" creationId="{5DC886D8-B74B-6F37-698F-A72B3724AF26}"/>
          </ac:picMkLst>
        </pc:picChg>
        <pc:picChg chg="add mod">
          <ac:chgData name="CISNEROS ROJAS, CAMILA GEORGINA" userId="c56cbc2a-55cd-4a0d-b56e-a0bfe880dc94" providerId="ADAL" clId="{BF859A91-FA63-4DC9-AD14-A4569BDBEE57}" dt="2025-03-05T14:20:07.705" v="2710" actId="1076"/>
          <ac:picMkLst>
            <pc:docMk/>
            <pc:sldMk cId="726809341" sldId="8162"/>
            <ac:picMk id="10" creationId="{12BD1002-160E-5AC1-2E87-D7991D7A83E0}"/>
          </ac:picMkLst>
        </pc:picChg>
      </pc:sldChg>
      <pc:sldChg chg="new del">
        <pc:chgData name="CISNEROS ROJAS, CAMILA GEORGINA" userId="c56cbc2a-55cd-4a0d-b56e-a0bfe880dc94" providerId="ADAL" clId="{BF859A91-FA63-4DC9-AD14-A4569BDBEE57}" dt="2025-03-05T14:08:47.537" v="2533" actId="47"/>
        <pc:sldMkLst>
          <pc:docMk/>
          <pc:sldMk cId="1074494564" sldId="8162"/>
        </pc:sldMkLst>
      </pc:sldChg>
      <pc:sldChg chg="addSp modSp new del mod">
        <pc:chgData name="CISNEROS ROJAS, CAMILA GEORGINA" userId="c56cbc2a-55cd-4a0d-b56e-a0bfe880dc94" providerId="ADAL" clId="{BF859A91-FA63-4DC9-AD14-A4569BDBEE57}" dt="2025-03-06T15:08:06.756" v="15923" actId="2696"/>
        <pc:sldMkLst>
          <pc:docMk/>
          <pc:sldMk cId="1206939865" sldId="8163"/>
        </pc:sldMkLst>
        <pc:spChg chg="mod">
          <ac:chgData name="CISNEROS ROJAS, CAMILA GEORGINA" userId="c56cbc2a-55cd-4a0d-b56e-a0bfe880dc94" providerId="ADAL" clId="{BF859A91-FA63-4DC9-AD14-A4569BDBEE57}" dt="2025-03-05T14:22:53.228" v="2765" actId="20577"/>
          <ac:spMkLst>
            <pc:docMk/>
            <pc:sldMk cId="1206939865" sldId="8163"/>
            <ac:spMk id="2" creationId="{4721F3D0-39E8-A1B2-033A-DDAE6B04E96F}"/>
          </ac:spMkLst>
        </pc:spChg>
        <pc:spChg chg="add mod">
          <ac:chgData name="CISNEROS ROJAS, CAMILA GEORGINA" userId="c56cbc2a-55cd-4a0d-b56e-a0bfe880dc94" providerId="ADAL" clId="{BF859A91-FA63-4DC9-AD14-A4569BDBEE57}" dt="2025-03-05T14:24:51.981" v="2777" actId="3626"/>
          <ac:spMkLst>
            <pc:docMk/>
            <pc:sldMk cId="1206939865" sldId="8163"/>
            <ac:spMk id="5" creationId="{C54D4555-6C50-8FFC-5631-B7D87D9A7260}"/>
          </ac:spMkLst>
        </pc:spChg>
        <pc:picChg chg="add mod">
          <ac:chgData name="CISNEROS ROJAS, CAMILA GEORGINA" userId="c56cbc2a-55cd-4a0d-b56e-a0bfe880dc94" providerId="ADAL" clId="{BF859A91-FA63-4DC9-AD14-A4569BDBEE57}" dt="2025-03-05T14:23:14.502" v="2768" actId="1582"/>
          <ac:picMkLst>
            <pc:docMk/>
            <pc:sldMk cId="1206939865" sldId="8163"/>
            <ac:picMk id="3" creationId="{15DE910C-048E-487C-5806-31276818C07F}"/>
          </ac:picMkLst>
        </pc:picChg>
        <pc:picChg chg="add mod">
          <ac:chgData name="CISNEROS ROJAS, CAMILA GEORGINA" userId="c56cbc2a-55cd-4a0d-b56e-a0bfe880dc94" providerId="ADAL" clId="{BF859A91-FA63-4DC9-AD14-A4569BDBEE57}" dt="2025-03-05T14:23:14.502" v="2768" actId="1582"/>
          <ac:picMkLst>
            <pc:docMk/>
            <pc:sldMk cId="1206939865" sldId="8163"/>
            <ac:picMk id="4" creationId="{C245428B-11E6-C4DF-4A7D-407847711F0F}"/>
          </ac:picMkLst>
        </pc:picChg>
        <pc:picChg chg="add mod">
          <ac:chgData name="CISNEROS ROJAS, CAMILA GEORGINA" userId="c56cbc2a-55cd-4a0d-b56e-a0bfe880dc94" providerId="ADAL" clId="{BF859A91-FA63-4DC9-AD14-A4569BDBEE57}" dt="2025-03-05T14:23:50.067" v="2773" actId="1076"/>
          <ac:picMkLst>
            <pc:docMk/>
            <pc:sldMk cId="1206939865" sldId="8163"/>
            <ac:picMk id="6" creationId="{52419807-FFEA-5D8E-4CEB-A1D6B885D723}"/>
          </ac:picMkLst>
        </pc:picChg>
      </pc:sldChg>
      <pc:sldChg chg="addSp delSp modSp new add del mod">
        <pc:chgData name="CISNEROS ROJAS, CAMILA GEORGINA" userId="c56cbc2a-55cd-4a0d-b56e-a0bfe880dc94" providerId="ADAL" clId="{BF859A91-FA63-4DC9-AD14-A4569BDBEE57}" dt="2025-03-06T15:09:39.714" v="15926" actId="2696"/>
        <pc:sldMkLst>
          <pc:docMk/>
          <pc:sldMk cId="4030556636" sldId="8164"/>
        </pc:sldMkLst>
        <pc:spChg chg="mod">
          <ac:chgData name="CISNEROS ROJAS, CAMILA GEORGINA" userId="c56cbc2a-55cd-4a0d-b56e-a0bfe880dc94" providerId="ADAL" clId="{BF859A91-FA63-4DC9-AD14-A4569BDBEE57}" dt="2025-03-05T14:30:05.513" v="2923" actId="20577"/>
          <ac:spMkLst>
            <pc:docMk/>
            <pc:sldMk cId="4030556636" sldId="8164"/>
            <ac:spMk id="2" creationId="{D9742CEE-C532-83D6-8C0F-AC15CAEB88CE}"/>
          </ac:spMkLst>
        </pc:spChg>
        <pc:spChg chg="del mod">
          <ac:chgData name="CISNEROS ROJAS, CAMILA GEORGINA" userId="c56cbc2a-55cd-4a0d-b56e-a0bfe880dc94" providerId="ADAL" clId="{BF859A91-FA63-4DC9-AD14-A4569BDBEE57}" dt="2025-03-05T14:30:20.879" v="2926" actId="478"/>
          <ac:spMkLst>
            <pc:docMk/>
            <pc:sldMk cId="4030556636" sldId="8164"/>
            <ac:spMk id="3" creationId="{775ACDA1-8523-2609-3A09-0470FD7096B9}"/>
          </ac:spMkLst>
        </pc:spChg>
        <pc:spChg chg="mod">
          <ac:chgData name="CISNEROS ROJAS, CAMILA GEORGINA" userId="c56cbc2a-55cd-4a0d-b56e-a0bfe880dc94" providerId="ADAL" clId="{BF859A91-FA63-4DC9-AD14-A4569BDBEE57}" dt="2025-03-05T14:30:03.081" v="2921" actId="20577"/>
          <ac:spMkLst>
            <pc:docMk/>
            <pc:sldMk cId="4030556636" sldId="8164"/>
            <ac:spMk id="4" creationId="{2F8DE1E2-9B82-3C2C-5967-F5061A8C6871}"/>
          </ac:spMkLst>
        </pc:spChg>
        <pc:spChg chg="add mod">
          <ac:chgData name="CISNEROS ROJAS, CAMILA GEORGINA" userId="c56cbc2a-55cd-4a0d-b56e-a0bfe880dc94" providerId="ADAL" clId="{BF859A91-FA63-4DC9-AD14-A4569BDBEE57}" dt="2025-03-05T14:34:56.362" v="2967" actId="1076"/>
          <ac:spMkLst>
            <pc:docMk/>
            <pc:sldMk cId="4030556636" sldId="8164"/>
            <ac:spMk id="6" creationId="{A78E36FF-F15B-5EB7-DFE8-76C1426A94F9}"/>
          </ac:spMkLst>
        </pc:spChg>
        <pc:spChg chg="add mod">
          <ac:chgData name="CISNEROS ROJAS, CAMILA GEORGINA" userId="c56cbc2a-55cd-4a0d-b56e-a0bfe880dc94" providerId="ADAL" clId="{BF859A91-FA63-4DC9-AD14-A4569BDBEE57}" dt="2025-03-05T14:35:00.504" v="2968" actId="1076"/>
          <ac:spMkLst>
            <pc:docMk/>
            <pc:sldMk cId="4030556636" sldId="8164"/>
            <ac:spMk id="7" creationId="{92E2FF60-1727-F8D1-61A3-4FEA3454CA47}"/>
          </ac:spMkLst>
        </pc:spChg>
        <pc:spChg chg="add mod">
          <ac:chgData name="CISNEROS ROJAS, CAMILA GEORGINA" userId="c56cbc2a-55cd-4a0d-b56e-a0bfe880dc94" providerId="ADAL" clId="{BF859A91-FA63-4DC9-AD14-A4569BDBEE57}" dt="2025-03-05T14:35:31.407" v="2971" actId="14100"/>
          <ac:spMkLst>
            <pc:docMk/>
            <pc:sldMk cId="4030556636" sldId="8164"/>
            <ac:spMk id="8" creationId="{2C720127-94B9-3C51-E9DD-D96CC992299B}"/>
          </ac:spMkLst>
        </pc:spChg>
        <pc:spChg chg="add mod">
          <ac:chgData name="CISNEROS ROJAS, CAMILA GEORGINA" userId="c56cbc2a-55cd-4a0d-b56e-a0bfe880dc94" providerId="ADAL" clId="{BF859A91-FA63-4DC9-AD14-A4569BDBEE57}" dt="2025-03-05T14:35:53.520" v="2972" actId="1076"/>
          <ac:spMkLst>
            <pc:docMk/>
            <pc:sldMk cId="4030556636" sldId="8164"/>
            <ac:spMk id="9" creationId="{C6D342E7-75DC-38FB-D26F-7E3AD2B56B80}"/>
          </ac:spMkLst>
        </pc:spChg>
      </pc:sldChg>
      <pc:sldChg chg="modSp new del mod">
        <pc:chgData name="CISNEROS ROJAS, CAMILA GEORGINA" userId="c56cbc2a-55cd-4a0d-b56e-a0bfe880dc94" providerId="ADAL" clId="{BF859A91-FA63-4DC9-AD14-A4569BDBEE57}" dt="2025-03-05T14:36:09.384" v="2973" actId="2696"/>
        <pc:sldMkLst>
          <pc:docMk/>
          <pc:sldMk cId="1367601970" sldId="8165"/>
        </pc:sldMkLst>
        <pc:spChg chg="mod">
          <ac:chgData name="CISNEROS ROJAS, CAMILA GEORGINA" userId="c56cbc2a-55cd-4a0d-b56e-a0bfe880dc94" providerId="ADAL" clId="{BF859A91-FA63-4DC9-AD14-A4569BDBEE57}" dt="2025-03-05T14:31:23.456" v="2935" actId="255"/>
          <ac:spMkLst>
            <pc:docMk/>
            <pc:sldMk cId="1367601970" sldId="8165"/>
            <ac:spMk id="3" creationId="{2669FA62-EC4F-787D-9C3A-2C9F0A672B46}"/>
          </ac:spMkLst>
        </pc:spChg>
      </pc:sldChg>
      <pc:sldChg chg="addSp delSp modSp add del mod">
        <pc:chgData name="CISNEROS ROJAS, CAMILA GEORGINA" userId="c56cbc2a-55cd-4a0d-b56e-a0bfe880dc94" providerId="ADAL" clId="{BF859A91-FA63-4DC9-AD14-A4569BDBEE57}" dt="2025-03-06T15:09:39.714" v="15926" actId="2696"/>
        <pc:sldMkLst>
          <pc:docMk/>
          <pc:sldMk cId="1927356436" sldId="8165"/>
        </pc:sldMkLst>
        <pc:spChg chg="add del mod">
          <ac:chgData name="CISNEROS ROJAS, CAMILA GEORGINA" userId="c56cbc2a-55cd-4a0d-b56e-a0bfe880dc94" providerId="ADAL" clId="{BF859A91-FA63-4DC9-AD14-A4569BDBEE57}" dt="2025-03-05T21:09:19.427" v="14008"/>
          <ac:spMkLst>
            <pc:docMk/>
            <pc:sldMk cId="1927356436" sldId="8165"/>
            <ac:spMk id="3" creationId="{AD139871-82A6-ACA5-F241-C2247F528075}"/>
          </ac:spMkLst>
        </pc:spChg>
        <pc:spChg chg="add del mod">
          <ac:chgData name="CISNEROS ROJAS, CAMILA GEORGINA" userId="c56cbc2a-55cd-4a0d-b56e-a0bfe880dc94" providerId="ADAL" clId="{BF859A91-FA63-4DC9-AD14-A4569BDBEE57}" dt="2025-03-05T14:36:51.328" v="2988" actId="478"/>
          <ac:spMkLst>
            <pc:docMk/>
            <pc:sldMk cId="1927356436" sldId="8165"/>
            <ac:spMk id="5" creationId="{1DBA757E-5D4C-25FA-F805-FD3E13AC3E48}"/>
          </ac:spMkLst>
        </pc:spChg>
        <pc:spChg chg="add del mod">
          <ac:chgData name="CISNEROS ROJAS, CAMILA GEORGINA" userId="c56cbc2a-55cd-4a0d-b56e-a0bfe880dc94" providerId="ADAL" clId="{BF859A91-FA63-4DC9-AD14-A4569BDBEE57}" dt="2025-03-05T21:09:19.427" v="14008"/>
          <ac:spMkLst>
            <pc:docMk/>
            <pc:sldMk cId="1927356436" sldId="8165"/>
            <ac:spMk id="5" creationId="{B5B7F5EE-44BE-2328-8342-2FE8BB22EEF4}"/>
          </ac:spMkLst>
        </pc:spChg>
        <pc:spChg chg="mod">
          <ac:chgData name="CISNEROS ROJAS, CAMILA GEORGINA" userId="c56cbc2a-55cd-4a0d-b56e-a0bfe880dc94" providerId="ADAL" clId="{BF859A91-FA63-4DC9-AD14-A4569BDBEE57}" dt="2025-03-05T21:09:21.890" v="14011" actId="1076"/>
          <ac:spMkLst>
            <pc:docMk/>
            <pc:sldMk cId="1927356436" sldId="8165"/>
            <ac:spMk id="6" creationId="{A78E36FF-F15B-5EB7-DFE8-76C1426A94F9}"/>
          </ac:spMkLst>
        </pc:spChg>
        <pc:spChg chg="del">
          <ac:chgData name="CISNEROS ROJAS, CAMILA GEORGINA" userId="c56cbc2a-55cd-4a0d-b56e-a0bfe880dc94" providerId="ADAL" clId="{BF859A91-FA63-4DC9-AD14-A4569BDBEE57}" dt="2025-03-05T14:36:48.293" v="2987" actId="478"/>
          <ac:spMkLst>
            <pc:docMk/>
            <pc:sldMk cId="1927356436" sldId="8165"/>
            <ac:spMk id="7" creationId="{92E2FF60-1727-F8D1-61A3-4FEA3454CA47}"/>
          </ac:spMkLst>
        </pc:spChg>
        <pc:spChg chg="add del mod">
          <ac:chgData name="CISNEROS ROJAS, CAMILA GEORGINA" userId="c56cbc2a-55cd-4a0d-b56e-a0bfe880dc94" providerId="ADAL" clId="{BF859A91-FA63-4DC9-AD14-A4569BDBEE57}" dt="2025-03-05T21:09:19.427" v="14008"/>
          <ac:spMkLst>
            <pc:docMk/>
            <pc:sldMk cId="1927356436" sldId="8165"/>
            <ac:spMk id="7" creationId="{D2C14905-F010-ACBC-C8F5-999C3C53D5F1}"/>
          </ac:spMkLst>
        </pc:spChg>
        <pc:spChg chg="mod">
          <ac:chgData name="CISNEROS ROJAS, CAMILA GEORGINA" userId="c56cbc2a-55cd-4a0d-b56e-a0bfe880dc94" providerId="ADAL" clId="{BF859A91-FA63-4DC9-AD14-A4569BDBEE57}" dt="2025-03-05T21:09:23.429" v="14013" actId="1076"/>
          <ac:spMkLst>
            <pc:docMk/>
            <pc:sldMk cId="1927356436" sldId="8165"/>
            <ac:spMk id="8" creationId="{2C720127-94B9-3C51-E9DD-D96CC992299B}"/>
          </ac:spMkLst>
        </pc:spChg>
        <pc:spChg chg="mod">
          <ac:chgData name="CISNEROS ROJAS, CAMILA GEORGINA" userId="c56cbc2a-55cd-4a0d-b56e-a0bfe880dc94" providerId="ADAL" clId="{BF859A91-FA63-4DC9-AD14-A4569BDBEE57}" dt="2025-03-05T21:09:22.693" v="14012" actId="1076"/>
          <ac:spMkLst>
            <pc:docMk/>
            <pc:sldMk cId="1927356436" sldId="8165"/>
            <ac:spMk id="9" creationId="{C6D342E7-75DC-38FB-D26F-7E3AD2B56B80}"/>
          </ac:spMkLst>
        </pc:spChg>
        <pc:spChg chg="add del mod">
          <ac:chgData name="CISNEROS ROJAS, CAMILA GEORGINA" userId="c56cbc2a-55cd-4a0d-b56e-a0bfe880dc94" providerId="ADAL" clId="{BF859A91-FA63-4DC9-AD14-A4569BDBEE57}" dt="2025-03-05T21:09:19.427" v="14008"/>
          <ac:spMkLst>
            <pc:docMk/>
            <pc:sldMk cId="1927356436" sldId="8165"/>
            <ac:spMk id="10" creationId="{0E4136EE-35DE-94EA-7E45-C8342E45CDA0}"/>
          </ac:spMkLst>
        </pc:spChg>
      </pc:sldChg>
      <pc:sldChg chg="modSp add del mod ord">
        <pc:chgData name="CISNEROS ROJAS, CAMILA GEORGINA" userId="c56cbc2a-55cd-4a0d-b56e-a0bfe880dc94" providerId="ADAL" clId="{BF859A91-FA63-4DC9-AD14-A4569BDBEE57}" dt="2025-03-06T15:09:39.714" v="15926" actId="2696"/>
        <pc:sldMkLst>
          <pc:docMk/>
          <pc:sldMk cId="2290145927" sldId="8166"/>
        </pc:sldMkLst>
        <pc:spChg chg="mod">
          <ac:chgData name="CISNEROS ROJAS, CAMILA GEORGINA" userId="c56cbc2a-55cd-4a0d-b56e-a0bfe880dc94" providerId="ADAL" clId="{BF859A91-FA63-4DC9-AD14-A4569BDBEE57}" dt="2025-03-05T14:40:44.774" v="3033" actId="20577"/>
          <ac:spMkLst>
            <pc:docMk/>
            <pc:sldMk cId="2290145927" sldId="8166"/>
            <ac:spMk id="6" creationId="{A78E36FF-F15B-5EB7-DFE8-76C1426A94F9}"/>
          </ac:spMkLst>
        </pc:spChg>
        <pc:spChg chg="mod">
          <ac:chgData name="CISNEROS ROJAS, CAMILA GEORGINA" userId="c56cbc2a-55cd-4a0d-b56e-a0bfe880dc94" providerId="ADAL" clId="{BF859A91-FA63-4DC9-AD14-A4569BDBEE57}" dt="2025-03-05T14:41:01.211" v="3037" actId="2711"/>
          <ac:spMkLst>
            <pc:docMk/>
            <pc:sldMk cId="2290145927" sldId="8166"/>
            <ac:spMk id="7" creationId="{92E2FF60-1727-F8D1-61A3-4FEA3454CA47}"/>
          </ac:spMkLst>
        </pc:spChg>
        <pc:spChg chg="mod">
          <ac:chgData name="CISNEROS ROJAS, CAMILA GEORGINA" userId="c56cbc2a-55cd-4a0d-b56e-a0bfe880dc94" providerId="ADAL" clId="{BF859A91-FA63-4DC9-AD14-A4569BDBEE57}" dt="2025-03-05T21:09:21.149" v="14010" actId="1076"/>
          <ac:spMkLst>
            <pc:docMk/>
            <pc:sldMk cId="2290145927" sldId="8166"/>
            <ac:spMk id="8" creationId="{2C720127-94B9-3C51-E9DD-D96CC992299B}"/>
          </ac:spMkLst>
        </pc:spChg>
        <pc:spChg chg="mod">
          <ac:chgData name="CISNEROS ROJAS, CAMILA GEORGINA" userId="c56cbc2a-55cd-4a0d-b56e-a0bfe880dc94" providerId="ADAL" clId="{BF859A91-FA63-4DC9-AD14-A4569BDBEE57}" dt="2025-03-05T21:09:20.012" v="14009" actId="1076"/>
          <ac:spMkLst>
            <pc:docMk/>
            <pc:sldMk cId="2290145927" sldId="8166"/>
            <ac:spMk id="9" creationId="{C6D342E7-75DC-38FB-D26F-7E3AD2B56B80}"/>
          </ac:spMkLst>
        </pc:spChg>
      </pc:sldChg>
      <pc:sldChg chg="modSp add del mod">
        <pc:chgData name="CISNEROS ROJAS, CAMILA GEORGINA" userId="c56cbc2a-55cd-4a0d-b56e-a0bfe880dc94" providerId="ADAL" clId="{BF859A91-FA63-4DC9-AD14-A4569BDBEE57}" dt="2025-03-06T15:09:39.714" v="15926" actId="2696"/>
        <pc:sldMkLst>
          <pc:docMk/>
          <pc:sldMk cId="3685456676" sldId="8167"/>
        </pc:sldMkLst>
        <pc:spChg chg="mod">
          <ac:chgData name="CISNEROS ROJAS, CAMILA GEORGINA" userId="c56cbc2a-55cd-4a0d-b56e-a0bfe880dc94" providerId="ADAL" clId="{BF859A91-FA63-4DC9-AD14-A4569BDBEE57}" dt="2025-03-05T14:47:50.786" v="3065" actId="20577"/>
          <ac:spMkLst>
            <pc:docMk/>
            <pc:sldMk cId="3685456676" sldId="8167"/>
            <ac:spMk id="6" creationId="{A78E36FF-F15B-5EB7-DFE8-76C1426A94F9}"/>
          </ac:spMkLst>
        </pc:spChg>
        <pc:spChg chg="mod">
          <ac:chgData name="CISNEROS ROJAS, CAMILA GEORGINA" userId="c56cbc2a-55cd-4a0d-b56e-a0bfe880dc94" providerId="ADAL" clId="{BF859A91-FA63-4DC9-AD14-A4569BDBEE57}" dt="2025-03-06T13:00:18.141" v="14233" actId="403"/>
          <ac:spMkLst>
            <pc:docMk/>
            <pc:sldMk cId="3685456676" sldId="8167"/>
            <ac:spMk id="7" creationId="{92E2FF60-1727-F8D1-61A3-4FEA3454CA47}"/>
          </ac:spMkLst>
        </pc:spChg>
        <pc:spChg chg="mod">
          <ac:chgData name="CISNEROS ROJAS, CAMILA GEORGINA" userId="c56cbc2a-55cd-4a0d-b56e-a0bfe880dc94" providerId="ADAL" clId="{BF859A91-FA63-4DC9-AD14-A4569BDBEE57}" dt="2025-03-05T14:48:28.003" v="3074" actId="14100"/>
          <ac:spMkLst>
            <pc:docMk/>
            <pc:sldMk cId="3685456676" sldId="8167"/>
            <ac:spMk id="8" creationId="{2C720127-94B9-3C51-E9DD-D96CC992299B}"/>
          </ac:spMkLst>
        </pc:spChg>
        <pc:spChg chg="mod">
          <ac:chgData name="CISNEROS ROJAS, CAMILA GEORGINA" userId="c56cbc2a-55cd-4a0d-b56e-a0bfe880dc94" providerId="ADAL" clId="{BF859A91-FA63-4DC9-AD14-A4569BDBEE57}" dt="2025-03-05T14:49:12.822" v="3096" actId="11"/>
          <ac:spMkLst>
            <pc:docMk/>
            <pc:sldMk cId="3685456676" sldId="8167"/>
            <ac:spMk id="9" creationId="{C6D342E7-75DC-38FB-D26F-7E3AD2B56B80}"/>
          </ac:spMkLst>
        </pc:spChg>
      </pc:sldChg>
      <pc:sldChg chg="addSp modSp add del mod">
        <pc:chgData name="CISNEROS ROJAS, CAMILA GEORGINA" userId="c56cbc2a-55cd-4a0d-b56e-a0bfe880dc94" providerId="ADAL" clId="{BF859A91-FA63-4DC9-AD14-A4569BDBEE57}" dt="2025-03-06T15:09:39.714" v="15926" actId="2696"/>
        <pc:sldMkLst>
          <pc:docMk/>
          <pc:sldMk cId="1972209296" sldId="8168"/>
        </pc:sldMkLst>
        <pc:spChg chg="add mod">
          <ac:chgData name="CISNEROS ROJAS, CAMILA GEORGINA" userId="c56cbc2a-55cd-4a0d-b56e-a0bfe880dc94" providerId="ADAL" clId="{BF859A91-FA63-4DC9-AD14-A4569BDBEE57}" dt="2025-03-05T14:54:23.773" v="3153" actId="1076"/>
          <ac:spMkLst>
            <pc:docMk/>
            <pc:sldMk cId="1972209296" sldId="8168"/>
            <ac:spMk id="3" creationId="{716F48C4-6DE0-4994-3F9A-D41226EE0374}"/>
          </ac:spMkLst>
        </pc:spChg>
        <pc:spChg chg="add mod">
          <ac:chgData name="CISNEROS ROJAS, CAMILA GEORGINA" userId="c56cbc2a-55cd-4a0d-b56e-a0bfe880dc94" providerId="ADAL" clId="{BF859A91-FA63-4DC9-AD14-A4569BDBEE57}" dt="2025-03-06T13:00:29.173" v="14234" actId="403"/>
          <ac:spMkLst>
            <pc:docMk/>
            <pc:sldMk cId="1972209296" sldId="8168"/>
            <ac:spMk id="5" creationId="{033EDF13-EE1D-D3BE-2753-9D012D9ACCB6}"/>
          </ac:spMkLst>
        </pc:spChg>
        <pc:spChg chg="mod">
          <ac:chgData name="CISNEROS ROJAS, CAMILA GEORGINA" userId="c56cbc2a-55cd-4a0d-b56e-a0bfe880dc94" providerId="ADAL" clId="{BF859A91-FA63-4DC9-AD14-A4569BDBEE57}" dt="2025-03-05T14:54:29.364" v="3154" actId="1076"/>
          <ac:spMkLst>
            <pc:docMk/>
            <pc:sldMk cId="1972209296" sldId="8168"/>
            <ac:spMk id="6" creationId="{A78E36FF-F15B-5EB7-DFE8-76C1426A94F9}"/>
          </ac:spMkLst>
        </pc:spChg>
        <pc:spChg chg="mod">
          <ac:chgData name="CISNEROS ROJAS, CAMILA GEORGINA" userId="c56cbc2a-55cd-4a0d-b56e-a0bfe880dc94" providerId="ADAL" clId="{BF859A91-FA63-4DC9-AD14-A4569BDBEE57}" dt="2025-03-06T13:00:29.173" v="14234" actId="403"/>
          <ac:spMkLst>
            <pc:docMk/>
            <pc:sldMk cId="1972209296" sldId="8168"/>
            <ac:spMk id="7" creationId="{92E2FF60-1727-F8D1-61A3-4FEA3454CA47}"/>
          </ac:spMkLst>
        </pc:spChg>
        <pc:spChg chg="mod">
          <ac:chgData name="CISNEROS ROJAS, CAMILA GEORGINA" userId="c56cbc2a-55cd-4a0d-b56e-a0bfe880dc94" providerId="ADAL" clId="{BF859A91-FA63-4DC9-AD14-A4569BDBEE57}" dt="2025-03-05T14:54:29.364" v="3154" actId="1076"/>
          <ac:spMkLst>
            <pc:docMk/>
            <pc:sldMk cId="1972209296" sldId="8168"/>
            <ac:spMk id="8" creationId="{2C720127-94B9-3C51-E9DD-D96CC992299B}"/>
          </ac:spMkLst>
        </pc:spChg>
        <pc:spChg chg="mod">
          <ac:chgData name="CISNEROS ROJAS, CAMILA GEORGINA" userId="c56cbc2a-55cd-4a0d-b56e-a0bfe880dc94" providerId="ADAL" clId="{BF859A91-FA63-4DC9-AD14-A4569BDBEE57}" dt="2025-03-05T14:54:29.364" v="3154" actId="1076"/>
          <ac:spMkLst>
            <pc:docMk/>
            <pc:sldMk cId="1972209296" sldId="8168"/>
            <ac:spMk id="9" creationId="{C6D342E7-75DC-38FB-D26F-7E3AD2B56B80}"/>
          </ac:spMkLst>
        </pc:spChg>
        <pc:spChg chg="add mod">
          <ac:chgData name="CISNEROS ROJAS, CAMILA GEORGINA" userId="c56cbc2a-55cd-4a0d-b56e-a0bfe880dc94" providerId="ADAL" clId="{BF859A91-FA63-4DC9-AD14-A4569BDBEE57}" dt="2025-03-05T14:54:19.270" v="3152" actId="1076"/>
          <ac:spMkLst>
            <pc:docMk/>
            <pc:sldMk cId="1972209296" sldId="8168"/>
            <ac:spMk id="10" creationId="{D4C211DE-379B-74D4-56F3-930AB5158522}"/>
          </ac:spMkLst>
        </pc:spChg>
        <pc:spChg chg="add mod">
          <ac:chgData name="CISNEROS ROJAS, CAMILA GEORGINA" userId="c56cbc2a-55cd-4a0d-b56e-a0bfe880dc94" providerId="ADAL" clId="{BF859A91-FA63-4DC9-AD14-A4569BDBEE57}" dt="2025-03-05T14:54:19.270" v="3152" actId="1076"/>
          <ac:spMkLst>
            <pc:docMk/>
            <pc:sldMk cId="1972209296" sldId="8168"/>
            <ac:spMk id="11" creationId="{6DF339CC-B2B0-3E5C-143E-D7FDF93865C9}"/>
          </ac:spMkLst>
        </pc:spChg>
      </pc:sldChg>
      <pc:sldChg chg="modSp add del mod">
        <pc:chgData name="CISNEROS ROJAS, CAMILA GEORGINA" userId="c56cbc2a-55cd-4a0d-b56e-a0bfe880dc94" providerId="ADAL" clId="{BF859A91-FA63-4DC9-AD14-A4569BDBEE57}" dt="2025-03-06T15:09:39.714" v="15926" actId="2696"/>
        <pc:sldMkLst>
          <pc:docMk/>
          <pc:sldMk cId="1003270302" sldId="8169"/>
        </pc:sldMkLst>
        <pc:spChg chg="mod">
          <ac:chgData name="CISNEROS ROJAS, CAMILA GEORGINA" userId="c56cbc2a-55cd-4a0d-b56e-a0bfe880dc94" providerId="ADAL" clId="{BF859A91-FA63-4DC9-AD14-A4569BDBEE57}" dt="2025-03-05T14:58:04.958" v="3205" actId="1076"/>
          <ac:spMkLst>
            <pc:docMk/>
            <pc:sldMk cId="1003270302" sldId="8169"/>
            <ac:spMk id="3" creationId="{716F48C4-6DE0-4994-3F9A-D41226EE0374}"/>
          </ac:spMkLst>
        </pc:spChg>
        <pc:spChg chg="mod">
          <ac:chgData name="CISNEROS ROJAS, CAMILA GEORGINA" userId="c56cbc2a-55cd-4a0d-b56e-a0bfe880dc94" providerId="ADAL" clId="{BF859A91-FA63-4DC9-AD14-A4569BDBEE57}" dt="2025-03-05T14:58:04.958" v="3205" actId="1076"/>
          <ac:spMkLst>
            <pc:docMk/>
            <pc:sldMk cId="1003270302" sldId="8169"/>
            <ac:spMk id="5" creationId="{033EDF13-EE1D-D3BE-2753-9D012D9ACCB6}"/>
          </ac:spMkLst>
        </pc:spChg>
        <pc:spChg chg="mod">
          <ac:chgData name="CISNEROS ROJAS, CAMILA GEORGINA" userId="c56cbc2a-55cd-4a0d-b56e-a0bfe880dc94" providerId="ADAL" clId="{BF859A91-FA63-4DC9-AD14-A4569BDBEE57}" dt="2025-03-05T14:55:39.824" v="3162" actId="1076"/>
          <ac:spMkLst>
            <pc:docMk/>
            <pc:sldMk cId="1003270302" sldId="8169"/>
            <ac:spMk id="6" creationId="{A78E36FF-F15B-5EB7-DFE8-76C1426A94F9}"/>
          </ac:spMkLst>
        </pc:spChg>
        <pc:spChg chg="mod">
          <ac:chgData name="CISNEROS ROJAS, CAMILA GEORGINA" userId="c56cbc2a-55cd-4a0d-b56e-a0bfe880dc94" providerId="ADAL" clId="{BF859A91-FA63-4DC9-AD14-A4569BDBEE57}" dt="2025-03-05T14:55:39.824" v="3162" actId="1076"/>
          <ac:spMkLst>
            <pc:docMk/>
            <pc:sldMk cId="1003270302" sldId="8169"/>
            <ac:spMk id="7" creationId="{92E2FF60-1727-F8D1-61A3-4FEA3454CA47}"/>
          </ac:spMkLst>
        </pc:spChg>
        <pc:spChg chg="mod">
          <ac:chgData name="CISNEROS ROJAS, CAMILA GEORGINA" userId="c56cbc2a-55cd-4a0d-b56e-a0bfe880dc94" providerId="ADAL" clId="{BF859A91-FA63-4DC9-AD14-A4569BDBEE57}" dt="2025-03-05T14:57:58.470" v="3204" actId="14100"/>
          <ac:spMkLst>
            <pc:docMk/>
            <pc:sldMk cId="1003270302" sldId="8169"/>
            <ac:spMk id="8" creationId="{2C720127-94B9-3C51-E9DD-D96CC992299B}"/>
          </ac:spMkLst>
        </pc:spChg>
        <pc:spChg chg="mod">
          <ac:chgData name="CISNEROS ROJAS, CAMILA GEORGINA" userId="c56cbc2a-55cd-4a0d-b56e-a0bfe880dc94" providerId="ADAL" clId="{BF859A91-FA63-4DC9-AD14-A4569BDBEE57}" dt="2025-03-05T14:56:13.485" v="3178" actId="1076"/>
          <ac:spMkLst>
            <pc:docMk/>
            <pc:sldMk cId="1003270302" sldId="8169"/>
            <ac:spMk id="9" creationId="{C6D342E7-75DC-38FB-D26F-7E3AD2B56B80}"/>
          </ac:spMkLst>
        </pc:spChg>
        <pc:spChg chg="mod">
          <ac:chgData name="CISNEROS ROJAS, CAMILA GEORGINA" userId="c56cbc2a-55cd-4a0d-b56e-a0bfe880dc94" providerId="ADAL" clId="{BF859A91-FA63-4DC9-AD14-A4569BDBEE57}" dt="2025-03-05T14:58:07.056" v="3206" actId="1076"/>
          <ac:spMkLst>
            <pc:docMk/>
            <pc:sldMk cId="1003270302" sldId="8169"/>
            <ac:spMk id="10" creationId="{D4C211DE-379B-74D4-56F3-930AB5158522}"/>
          </ac:spMkLst>
        </pc:spChg>
        <pc:spChg chg="mod">
          <ac:chgData name="CISNEROS ROJAS, CAMILA GEORGINA" userId="c56cbc2a-55cd-4a0d-b56e-a0bfe880dc94" providerId="ADAL" clId="{BF859A91-FA63-4DC9-AD14-A4569BDBEE57}" dt="2025-03-05T14:58:10.287" v="3207" actId="1076"/>
          <ac:spMkLst>
            <pc:docMk/>
            <pc:sldMk cId="1003270302" sldId="8169"/>
            <ac:spMk id="11" creationId="{6DF339CC-B2B0-3E5C-143E-D7FDF93865C9}"/>
          </ac:spMkLst>
        </pc:spChg>
      </pc:sldChg>
      <pc:sldChg chg="modSp add del mod ord">
        <pc:chgData name="CISNEROS ROJAS, CAMILA GEORGINA" userId="c56cbc2a-55cd-4a0d-b56e-a0bfe880dc94" providerId="ADAL" clId="{BF859A91-FA63-4DC9-AD14-A4569BDBEE57}" dt="2025-03-06T15:08:06.756" v="15923" actId="2696"/>
        <pc:sldMkLst>
          <pc:docMk/>
          <pc:sldMk cId="1919783732" sldId="8170"/>
        </pc:sldMkLst>
        <pc:spChg chg="mod">
          <ac:chgData name="CISNEROS ROJAS, CAMILA GEORGINA" userId="c56cbc2a-55cd-4a0d-b56e-a0bfe880dc94" providerId="ADAL" clId="{BF859A91-FA63-4DC9-AD14-A4569BDBEE57}" dt="2025-03-05T16:04:46.525" v="3245" actId="20577"/>
          <ac:spMkLst>
            <pc:docMk/>
            <pc:sldMk cId="1919783732" sldId="8170"/>
            <ac:spMk id="2" creationId="{9E35DCEA-11FB-375E-BA08-3B2B59711278}"/>
          </ac:spMkLst>
        </pc:spChg>
      </pc:sldChg>
      <pc:sldChg chg="modSp add mod ord">
        <pc:chgData name="CISNEROS ROJAS, CAMILA GEORGINA" userId="c56cbc2a-55cd-4a0d-b56e-a0bfe880dc94" providerId="ADAL" clId="{BF859A91-FA63-4DC9-AD14-A4569BDBEE57}" dt="2025-03-06T15:01:53.479" v="15841"/>
        <pc:sldMkLst>
          <pc:docMk/>
          <pc:sldMk cId="3543695687" sldId="8171"/>
        </pc:sldMkLst>
        <pc:spChg chg="mod">
          <ac:chgData name="CISNEROS ROJAS, CAMILA GEORGINA" userId="c56cbc2a-55cd-4a0d-b56e-a0bfe880dc94" providerId="ADAL" clId="{BF859A91-FA63-4DC9-AD14-A4569BDBEE57}" dt="2025-03-05T16:05:14.058" v="3259" actId="20577"/>
          <ac:spMkLst>
            <pc:docMk/>
            <pc:sldMk cId="3543695687" sldId="8171"/>
            <ac:spMk id="2" creationId="{9E35DCEA-11FB-375E-BA08-3B2B59711278}"/>
          </ac:spMkLst>
        </pc:spChg>
      </pc:sldChg>
      <pc:sldChg chg="modSp add mod ord">
        <pc:chgData name="CISNEROS ROJAS, CAMILA GEORGINA" userId="c56cbc2a-55cd-4a0d-b56e-a0bfe880dc94" providerId="ADAL" clId="{BF859A91-FA63-4DC9-AD14-A4569BDBEE57}" dt="2025-03-06T14:51:19.313" v="15428"/>
        <pc:sldMkLst>
          <pc:docMk/>
          <pc:sldMk cId="16677363" sldId="8172"/>
        </pc:sldMkLst>
        <pc:spChg chg="mod">
          <ac:chgData name="CISNEROS ROJAS, CAMILA GEORGINA" userId="c56cbc2a-55cd-4a0d-b56e-a0bfe880dc94" providerId="ADAL" clId="{BF859A91-FA63-4DC9-AD14-A4569BDBEE57}" dt="2025-03-05T16:41:52.514" v="5133" actId="207"/>
          <ac:spMkLst>
            <pc:docMk/>
            <pc:sldMk cId="16677363" sldId="8172"/>
            <ac:spMk id="2" creationId="{9E35DCEA-11FB-375E-BA08-3B2B59711278}"/>
          </ac:spMkLst>
        </pc:spChg>
      </pc:sldChg>
      <pc:sldChg chg="modSp add mod ord">
        <pc:chgData name="CISNEROS ROJAS, CAMILA GEORGINA" userId="c56cbc2a-55cd-4a0d-b56e-a0bfe880dc94" providerId="ADAL" clId="{BF859A91-FA63-4DC9-AD14-A4569BDBEE57}" dt="2025-03-06T14:18:04.961" v="14787"/>
        <pc:sldMkLst>
          <pc:docMk/>
          <pc:sldMk cId="1576673469" sldId="8173"/>
        </pc:sldMkLst>
        <pc:spChg chg="mod">
          <ac:chgData name="CISNEROS ROJAS, CAMILA GEORGINA" userId="c56cbc2a-55cd-4a0d-b56e-a0bfe880dc94" providerId="ADAL" clId="{BF859A91-FA63-4DC9-AD14-A4569BDBEE57}" dt="2025-03-05T16:05:55.812" v="3296" actId="20577"/>
          <ac:spMkLst>
            <pc:docMk/>
            <pc:sldMk cId="1576673469" sldId="8173"/>
            <ac:spMk id="2" creationId="{9E35DCEA-11FB-375E-BA08-3B2B59711278}"/>
          </ac:spMkLst>
        </pc:spChg>
      </pc:sldChg>
      <pc:sldChg chg="modSp add mod ord">
        <pc:chgData name="CISNEROS ROJAS, CAMILA GEORGINA" userId="c56cbc2a-55cd-4a0d-b56e-a0bfe880dc94" providerId="ADAL" clId="{BF859A91-FA63-4DC9-AD14-A4569BDBEE57}" dt="2025-03-06T14:24:59.649" v="15113" actId="1076"/>
        <pc:sldMkLst>
          <pc:docMk/>
          <pc:sldMk cId="1508971878" sldId="8174"/>
        </pc:sldMkLst>
        <pc:spChg chg="mod">
          <ac:chgData name="CISNEROS ROJAS, CAMILA GEORGINA" userId="c56cbc2a-55cd-4a0d-b56e-a0bfe880dc94" providerId="ADAL" clId="{BF859A91-FA63-4DC9-AD14-A4569BDBEE57}" dt="2025-03-06T14:24:59.649" v="15113" actId="1076"/>
          <ac:spMkLst>
            <pc:docMk/>
            <pc:sldMk cId="1508971878" sldId="8174"/>
            <ac:spMk id="2" creationId="{9E35DCEA-11FB-375E-BA08-3B2B59711278}"/>
          </ac:spMkLst>
        </pc:spChg>
      </pc:sldChg>
      <pc:sldChg chg="modSp add del mod ord">
        <pc:chgData name="CISNEROS ROJAS, CAMILA GEORGINA" userId="c56cbc2a-55cd-4a0d-b56e-a0bfe880dc94" providerId="ADAL" clId="{BF859A91-FA63-4DC9-AD14-A4569BDBEE57}" dt="2025-03-06T14:33:08.465" v="15178" actId="2696"/>
        <pc:sldMkLst>
          <pc:docMk/>
          <pc:sldMk cId="3677008482" sldId="8175"/>
        </pc:sldMkLst>
        <pc:spChg chg="mod">
          <ac:chgData name="CISNEROS ROJAS, CAMILA GEORGINA" userId="c56cbc2a-55cd-4a0d-b56e-a0bfe880dc94" providerId="ADAL" clId="{BF859A91-FA63-4DC9-AD14-A4569BDBEE57}" dt="2025-03-05T17:13:16.240" v="6379" actId="5793"/>
          <ac:spMkLst>
            <pc:docMk/>
            <pc:sldMk cId="3677008482" sldId="8175"/>
            <ac:spMk id="2" creationId="{9E35DCEA-11FB-375E-BA08-3B2B59711278}"/>
          </ac:spMkLst>
        </pc:spChg>
      </pc:sldChg>
      <pc:sldChg chg="modSp add mod ord">
        <pc:chgData name="CISNEROS ROJAS, CAMILA GEORGINA" userId="c56cbc2a-55cd-4a0d-b56e-a0bfe880dc94" providerId="ADAL" clId="{BF859A91-FA63-4DC9-AD14-A4569BDBEE57}" dt="2025-03-06T14:33:29.647" v="15180"/>
        <pc:sldMkLst>
          <pc:docMk/>
          <pc:sldMk cId="4099578113" sldId="8176"/>
        </pc:sldMkLst>
        <pc:spChg chg="mod">
          <ac:chgData name="CISNEROS ROJAS, CAMILA GEORGINA" userId="c56cbc2a-55cd-4a0d-b56e-a0bfe880dc94" providerId="ADAL" clId="{BF859A91-FA63-4DC9-AD14-A4569BDBEE57}" dt="2025-03-05T16:06:56.314" v="3337" actId="20577"/>
          <ac:spMkLst>
            <pc:docMk/>
            <pc:sldMk cId="4099578113" sldId="8176"/>
            <ac:spMk id="2" creationId="{9E35DCEA-11FB-375E-BA08-3B2B59711278}"/>
          </ac:spMkLst>
        </pc:spChg>
      </pc:sldChg>
      <pc:sldChg chg="modSp add mod ord">
        <pc:chgData name="CISNEROS ROJAS, CAMILA GEORGINA" userId="c56cbc2a-55cd-4a0d-b56e-a0bfe880dc94" providerId="ADAL" clId="{BF859A91-FA63-4DC9-AD14-A4569BDBEE57}" dt="2025-03-06T14:36:26.989" v="15255"/>
        <pc:sldMkLst>
          <pc:docMk/>
          <pc:sldMk cId="2827577724" sldId="8177"/>
        </pc:sldMkLst>
        <pc:spChg chg="mod">
          <ac:chgData name="CISNEROS ROJAS, CAMILA GEORGINA" userId="c56cbc2a-55cd-4a0d-b56e-a0bfe880dc94" providerId="ADAL" clId="{BF859A91-FA63-4DC9-AD14-A4569BDBEE57}" dt="2025-03-05T16:07:27.491" v="3399" actId="20577"/>
          <ac:spMkLst>
            <pc:docMk/>
            <pc:sldMk cId="2827577724" sldId="8177"/>
            <ac:spMk id="2" creationId="{9E35DCEA-11FB-375E-BA08-3B2B59711278}"/>
          </ac:spMkLst>
        </pc:spChg>
      </pc:sldChg>
      <pc:sldChg chg="new del">
        <pc:chgData name="CISNEROS ROJAS, CAMILA GEORGINA" userId="c56cbc2a-55cd-4a0d-b56e-a0bfe880dc94" providerId="ADAL" clId="{BF859A91-FA63-4DC9-AD14-A4569BDBEE57}" dt="2025-03-05T16:07:48.941" v="3401" actId="680"/>
        <pc:sldMkLst>
          <pc:docMk/>
          <pc:sldMk cId="586937489" sldId="8178"/>
        </pc:sldMkLst>
      </pc:sldChg>
      <pc:sldChg chg="addSp delSp modSp new mod ord">
        <pc:chgData name="CISNEROS ROJAS, CAMILA GEORGINA" userId="c56cbc2a-55cd-4a0d-b56e-a0bfe880dc94" providerId="ADAL" clId="{BF859A91-FA63-4DC9-AD14-A4569BDBEE57}" dt="2025-03-06T15:01:53.479" v="15841"/>
        <pc:sldMkLst>
          <pc:docMk/>
          <pc:sldMk cId="4283528802" sldId="8178"/>
        </pc:sldMkLst>
        <pc:spChg chg="mod">
          <ac:chgData name="CISNEROS ROJAS, CAMILA GEORGINA" userId="c56cbc2a-55cd-4a0d-b56e-a0bfe880dc94" providerId="ADAL" clId="{BF859A91-FA63-4DC9-AD14-A4569BDBEE57}" dt="2025-03-05T20:18:39.604" v="12933" actId="20577"/>
          <ac:spMkLst>
            <pc:docMk/>
            <pc:sldMk cId="4283528802" sldId="8178"/>
            <ac:spMk id="2" creationId="{1611DA8A-1168-FAF8-030C-B76348422035}"/>
          </ac:spMkLst>
        </pc:spChg>
        <pc:spChg chg="add mod">
          <ac:chgData name="CISNEROS ROJAS, CAMILA GEORGINA" userId="c56cbc2a-55cd-4a0d-b56e-a0bfe880dc94" providerId="ADAL" clId="{BF859A91-FA63-4DC9-AD14-A4569BDBEE57}" dt="2025-03-05T20:31:35.172" v="13269" actId="1076"/>
          <ac:spMkLst>
            <pc:docMk/>
            <pc:sldMk cId="4283528802" sldId="8178"/>
            <ac:spMk id="3" creationId="{317F8B6C-1BF2-0A77-4438-107D855B63E5}"/>
          </ac:spMkLst>
        </pc:spChg>
        <pc:spChg chg="add del mod">
          <ac:chgData name="CISNEROS ROJAS, CAMILA GEORGINA" userId="c56cbc2a-55cd-4a0d-b56e-a0bfe880dc94" providerId="ADAL" clId="{BF859A91-FA63-4DC9-AD14-A4569BDBEE57}" dt="2025-03-05T20:19:42.704" v="13080" actId="478"/>
          <ac:spMkLst>
            <pc:docMk/>
            <pc:sldMk cId="4283528802" sldId="8178"/>
            <ac:spMk id="4" creationId="{82C95BEB-288A-CF7E-9F57-368CE17BBB34}"/>
          </ac:spMkLst>
        </pc:spChg>
        <pc:spChg chg="add mod">
          <ac:chgData name="CISNEROS ROJAS, CAMILA GEORGINA" userId="c56cbc2a-55cd-4a0d-b56e-a0bfe880dc94" providerId="ADAL" clId="{BF859A91-FA63-4DC9-AD14-A4569BDBEE57}" dt="2025-03-05T20:31:31.038" v="13268" actId="1076"/>
          <ac:spMkLst>
            <pc:docMk/>
            <pc:sldMk cId="4283528802" sldId="8178"/>
            <ac:spMk id="6" creationId="{D8D4E66A-8A23-57E4-27FC-69F180B61CD5}"/>
          </ac:spMkLst>
        </pc:spChg>
        <pc:spChg chg="add mod">
          <ac:chgData name="CISNEROS ROJAS, CAMILA GEORGINA" userId="c56cbc2a-55cd-4a0d-b56e-a0bfe880dc94" providerId="ADAL" clId="{BF859A91-FA63-4DC9-AD14-A4569BDBEE57}" dt="2025-03-05T20:31:28.438" v="13267" actId="1076"/>
          <ac:spMkLst>
            <pc:docMk/>
            <pc:sldMk cId="4283528802" sldId="8178"/>
            <ac:spMk id="7" creationId="{7F148FB8-EA7A-2022-DDAE-D71457E4B926}"/>
          </ac:spMkLst>
        </pc:spChg>
        <pc:spChg chg="add mod">
          <ac:chgData name="CISNEROS ROJAS, CAMILA GEORGINA" userId="c56cbc2a-55cd-4a0d-b56e-a0bfe880dc94" providerId="ADAL" clId="{BF859A91-FA63-4DC9-AD14-A4569BDBEE57}" dt="2025-03-05T20:31:25.905" v="13266" actId="1076"/>
          <ac:spMkLst>
            <pc:docMk/>
            <pc:sldMk cId="4283528802" sldId="8178"/>
            <ac:spMk id="9" creationId="{7E9B7CED-CF77-AA17-E2B4-7BE33763CD05}"/>
          </ac:spMkLst>
        </pc:spChg>
      </pc:sldChg>
      <pc:sldChg chg="addSp delSp modSp new mod ord">
        <pc:chgData name="CISNEROS ROJAS, CAMILA GEORGINA" userId="c56cbc2a-55cd-4a0d-b56e-a0bfe880dc94" providerId="ADAL" clId="{BF859A91-FA63-4DC9-AD14-A4569BDBEE57}" dt="2025-03-06T14:55:04.913" v="15692" actId="20577"/>
        <pc:sldMkLst>
          <pc:docMk/>
          <pc:sldMk cId="256299114" sldId="8179"/>
        </pc:sldMkLst>
        <pc:spChg chg="mod">
          <ac:chgData name="CISNEROS ROJAS, CAMILA GEORGINA" userId="c56cbc2a-55cd-4a0d-b56e-a0bfe880dc94" providerId="ADAL" clId="{BF859A91-FA63-4DC9-AD14-A4569BDBEE57}" dt="2025-03-05T16:08:36.925" v="3459" actId="404"/>
          <ac:spMkLst>
            <pc:docMk/>
            <pc:sldMk cId="256299114" sldId="8179"/>
            <ac:spMk id="2" creationId="{8BFC5986-1880-ABB9-861B-9DAA3A7C4A2A}"/>
          </ac:spMkLst>
        </pc:spChg>
        <pc:spChg chg="add mod topLvl">
          <ac:chgData name="CISNEROS ROJAS, CAMILA GEORGINA" userId="c56cbc2a-55cd-4a0d-b56e-a0bfe880dc94" providerId="ADAL" clId="{BF859A91-FA63-4DC9-AD14-A4569BDBEE57}" dt="2025-03-05T16:15:02.466" v="3507" actId="165"/>
          <ac:spMkLst>
            <pc:docMk/>
            <pc:sldMk cId="256299114" sldId="8179"/>
            <ac:spMk id="11" creationId="{513F93DB-CE19-D782-6F63-07A600CA993D}"/>
          </ac:spMkLst>
        </pc:spChg>
        <pc:spChg chg="add mod topLvl">
          <ac:chgData name="CISNEROS ROJAS, CAMILA GEORGINA" userId="c56cbc2a-55cd-4a0d-b56e-a0bfe880dc94" providerId="ADAL" clId="{BF859A91-FA63-4DC9-AD14-A4569BDBEE57}" dt="2025-03-05T16:15:02.466" v="3507" actId="165"/>
          <ac:spMkLst>
            <pc:docMk/>
            <pc:sldMk cId="256299114" sldId="8179"/>
            <ac:spMk id="12" creationId="{6FAC1333-AFDA-8B78-B60A-353307A90C0F}"/>
          </ac:spMkLst>
        </pc:spChg>
        <pc:spChg chg="add mod topLvl">
          <ac:chgData name="CISNEROS ROJAS, CAMILA GEORGINA" userId="c56cbc2a-55cd-4a0d-b56e-a0bfe880dc94" providerId="ADAL" clId="{BF859A91-FA63-4DC9-AD14-A4569BDBEE57}" dt="2025-03-05T16:15:02.466" v="3507" actId="165"/>
          <ac:spMkLst>
            <pc:docMk/>
            <pc:sldMk cId="256299114" sldId="8179"/>
            <ac:spMk id="13" creationId="{F87F025A-FCF5-548D-8040-87E663D2D55C}"/>
          </ac:spMkLst>
        </pc:spChg>
        <pc:spChg chg="add mod topLvl">
          <ac:chgData name="CISNEROS ROJAS, CAMILA GEORGINA" userId="c56cbc2a-55cd-4a0d-b56e-a0bfe880dc94" providerId="ADAL" clId="{BF859A91-FA63-4DC9-AD14-A4569BDBEE57}" dt="2025-03-05T16:15:02.466" v="3507" actId="165"/>
          <ac:spMkLst>
            <pc:docMk/>
            <pc:sldMk cId="256299114" sldId="8179"/>
            <ac:spMk id="14" creationId="{1BF5736E-F9D9-62E1-CB49-0765518093A8}"/>
          </ac:spMkLst>
        </pc:spChg>
        <pc:spChg chg="add mod topLvl">
          <ac:chgData name="CISNEROS ROJAS, CAMILA GEORGINA" userId="c56cbc2a-55cd-4a0d-b56e-a0bfe880dc94" providerId="ADAL" clId="{BF859A91-FA63-4DC9-AD14-A4569BDBEE57}" dt="2025-03-05T16:15:02.466" v="3507" actId="165"/>
          <ac:spMkLst>
            <pc:docMk/>
            <pc:sldMk cId="256299114" sldId="8179"/>
            <ac:spMk id="15" creationId="{06E8CC14-C89A-C8BC-1061-FBE1E010593A}"/>
          </ac:spMkLst>
        </pc:spChg>
        <pc:spChg chg="add mod topLvl">
          <ac:chgData name="CISNEROS ROJAS, CAMILA GEORGINA" userId="c56cbc2a-55cd-4a0d-b56e-a0bfe880dc94" providerId="ADAL" clId="{BF859A91-FA63-4DC9-AD14-A4569BDBEE57}" dt="2025-03-05T16:15:02.466" v="3507" actId="165"/>
          <ac:spMkLst>
            <pc:docMk/>
            <pc:sldMk cId="256299114" sldId="8179"/>
            <ac:spMk id="16" creationId="{18C73F45-10FC-4476-2CCA-09638C83CA10}"/>
          </ac:spMkLst>
        </pc:spChg>
        <pc:spChg chg="add mod topLvl">
          <ac:chgData name="CISNEROS ROJAS, CAMILA GEORGINA" userId="c56cbc2a-55cd-4a0d-b56e-a0bfe880dc94" providerId="ADAL" clId="{BF859A91-FA63-4DC9-AD14-A4569BDBEE57}" dt="2025-03-05T16:15:02.466" v="3507" actId="165"/>
          <ac:spMkLst>
            <pc:docMk/>
            <pc:sldMk cId="256299114" sldId="8179"/>
            <ac:spMk id="17" creationId="{983593CC-8559-1C83-CA72-2643E62A1D7E}"/>
          </ac:spMkLst>
        </pc:spChg>
        <pc:spChg chg="add mod topLvl">
          <ac:chgData name="CISNEROS ROJAS, CAMILA GEORGINA" userId="c56cbc2a-55cd-4a0d-b56e-a0bfe880dc94" providerId="ADAL" clId="{BF859A91-FA63-4DC9-AD14-A4569BDBEE57}" dt="2025-03-05T16:15:02.466" v="3507" actId="165"/>
          <ac:spMkLst>
            <pc:docMk/>
            <pc:sldMk cId="256299114" sldId="8179"/>
            <ac:spMk id="18" creationId="{55F33185-11B7-0397-99D7-703760C3F76A}"/>
          </ac:spMkLst>
        </pc:spChg>
        <pc:spChg chg="add mod topLvl">
          <ac:chgData name="CISNEROS ROJAS, CAMILA GEORGINA" userId="c56cbc2a-55cd-4a0d-b56e-a0bfe880dc94" providerId="ADAL" clId="{BF859A91-FA63-4DC9-AD14-A4569BDBEE57}" dt="2025-03-05T16:15:02.466" v="3507" actId="165"/>
          <ac:spMkLst>
            <pc:docMk/>
            <pc:sldMk cId="256299114" sldId="8179"/>
            <ac:spMk id="19" creationId="{71BAA463-EC71-ED59-384D-B23C524AD20E}"/>
          </ac:spMkLst>
        </pc:spChg>
        <pc:spChg chg="add mod topLvl">
          <ac:chgData name="CISNEROS ROJAS, CAMILA GEORGINA" userId="c56cbc2a-55cd-4a0d-b56e-a0bfe880dc94" providerId="ADAL" clId="{BF859A91-FA63-4DC9-AD14-A4569BDBEE57}" dt="2025-03-05T16:15:02.466" v="3507" actId="165"/>
          <ac:spMkLst>
            <pc:docMk/>
            <pc:sldMk cId="256299114" sldId="8179"/>
            <ac:spMk id="20" creationId="{932F1A0D-6277-03ED-5696-303F2FD61D30}"/>
          </ac:spMkLst>
        </pc:spChg>
        <pc:spChg chg="add mod topLvl">
          <ac:chgData name="CISNEROS ROJAS, CAMILA GEORGINA" userId="c56cbc2a-55cd-4a0d-b56e-a0bfe880dc94" providerId="ADAL" clId="{BF859A91-FA63-4DC9-AD14-A4569BDBEE57}" dt="2025-03-05T16:15:02.466" v="3507" actId="165"/>
          <ac:spMkLst>
            <pc:docMk/>
            <pc:sldMk cId="256299114" sldId="8179"/>
            <ac:spMk id="21" creationId="{9A68E1A4-4489-CCCA-8389-DDA636040678}"/>
          </ac:spMkLst>
        </pc:spChg>
        <pc:spChg chg="add mod topLvl">
          <ac:chgData name="CISNEROS ROJAS, CAMILA GEORGINA" userId="c56cbc2a-55cd-4a0d-b56e-a0bfe880dc94" providerId="ADAL" clId="{BF859A91-FA63-4DC9-AD14-A4569BDBEE57}" dt="2025-03-05T16:15:02.466" v="3507" actId="165"/>
          <ac:spMkLst>
            <pc:docMk/>
            <pc:sldMk cId="256299114" sldId="8179"/>
            <ac:spMk id="22" creationId="{4A0D98DA-2116-4527-8879-DF9091F3A47D}"/>
          </ac:spMkLst>
        </pc:spChg>
        <pc:spChg chg="add del mod topLvl">
          <ac:chgData name="CISNEROS ROJAS, CAMILA GEORGINA" userId="c56cbc2a-55cd-4a0d-b56e-a0bfe880dc94" providerId="ADAL" clId="{BF859A91-FA63-4DC9-AD14-A4569BDBEE57}" dt="2025-03-05T16:24:55.786" v="3915" actId="478"/>
          <ac:spMkLst>
            <pc:docMk/>
            <pc:sldMk cId="256299114" sldId="8179"/>
            <ac:spMk id="23" creationId="{542E5BB0-6A63-3F21-2EAD-9EE5F846216E}"/>
          </ac:spMkLst>
        </pc:spChg>
        <pc:spChg chg="add del mod topLvl">
          <ac:chgData name="CISNEROS ROJAS, CAMILA GEORGINA" userId="c56cbc2a-55cd-4a0d-b56e-a0bfe880dc94" providerId="ADAL" clId="{BF859A91-FA63-4DC9-AD14-A4569BDBEE57}" dt="2025-03-05T16:24:58.216" v="3918" actId="478"/>
          <ac:spMkLst>
            <pc:docMk/>
            <pc:sldMk cId="256299114" sldId="8179"/>
            <ac:spMk id="24" creationId="{9CE47A2F-CBCD-28B8-6B01-D37122D76912}"/>
          </ac:spMkLst>
        </pc:spChg>
        <pc:spChg chg="add del mod topLvl">
          <ac:chgData name="CISNEROS ROJAS, CAMILA GEORGINA" userId="c56cbc2a-55cd-4a0d-b56e-a0bfe880dc94" providerId="ADAL" clId="{BF859A91-FA63-4DC9-AD14-A4569BDBEE57}" dt="2025-03-05T16:25:01.779" v="3921" actId="478"/>
          <ac:spMkLst>
            <pc:docMk/>
            <pc:sldMk cId="256299114" sldId="8179"/>
            <ac:spMk id="25" creationId="{379D323C-FA49-855B-C382-B205A153E809}"/>
          </ac:spMkLst>
        </pc:spChg>
        <pc:spChg chg="add del mod topLvl">
          <ac:chgData name="CISNEROS ROJAS, CAMILA GEORGINA" userId="c56cbc2a-55cd-4a0d-b56e-a0bfe880dc94" providerId="ADAL" clId="{BF859A91-FA63-4DC9-AD14-A4569BDBEE57}" dt="2025-03-05T16:24:57.441" v="3917" actId="478"/>
          <ac:spMkLst>
            <pc:docMk/>
            <pc:sldMk cId="256299114" sldId="8179"/>
            <ac:spMk id="26" creationId="{C9741A9A-F608-5910-4956-6CB111C40ACB}"/>
          </ac:spMkLst>
        </pc:spChg>
        <pc:spChg chg="add mod topLvl">
          <ac:chgData name="CISNEROS ROJAS, CAMILA GEORGINA" userId="c56cbc2a-55cd-4a0d-b56e-a0bfe880dc94" providerId="ADAL" clId="{BF859A91-FA63-4DC9-AD14-A4569BDBEE57}" dt="2025-03-05T16:15:02.466" v="3507" actId="165"/>
          <ac:spMkLst>
            <pc:docMk/>
            <pc:sldMk cId="256299114" sldId="8179"/>
            <ac:spMk id="27" creationId="{DA782ED6-64BB-7FE9-CC9E-07ED8B6BB584}"/>
          </ac:spMkLst>
        </pc:spChg>
        <pc:spChg chg="add mod topLvl">
          <ac:chgData name="CISNEROS ROJAS, CAMILA GEORGINA" userId="c56cbc2a-55cd-4a0d-b56e-a0bfe880dc94" providerId="ADAL" clId="{BF859A91-FA63-4DC9-AD14-A4569BDBEE57}" dt="2025-03-05T16:15:02.466" v="3507" actId="165"/>
          <ac:spMkLst>
            <pc:docMk/>
            <pc:sldMk cId="256299114" sldId="8179"/>
            <ac:spMk id="28" creationId="{050B0E17-D700-6BC7-9FB7-303C63950D42}"/>
          </ac:spMkLst>
        </pc:spChg>
        <pc:spChg chg="add mod topLvl">
          <ac:chgData name="CISNEROS ROJAS, CAMILA GEORGINA" userId="c56cbc2a-55cd-4a0d-b56e-a0bfe880dc94" providerId="ADAL" clId="{BF859A91-FA63-4DC9-AD14-A4569BDBEE57}" dt="2025-03-05T16:15:02.466" v="3507" actId="165"/>
          <ac:spMkLst>
            <pc:docMk/>
            <pc:sldMk cId="256299114" sldId="8179"/>
            <ac:spMk id="29" creationId="{754551B6-189E-6E28-C6EE-D517E19ADA14}"/>
          </ac:spMkLst>
        </pc:spChg>
        <pc:spChg chg="add mod topLvl">
          <ac:chgData name="CISNEROS ROJAS, CAMILA GEORGINA" userId="c56cbc2a-55cd-4a0d-b56e-a0bfe880dc94" providerId="ADAL" clId="{BF859A91-FA63-4DC9-AD14-A4569BDBEE57}" dt="2025-03-05T16:15:02.466" v="3507" actId="165"/>
          <ac:spMkLst>
            <pc:docMk/>
            <pc:sldMk cId="256299114" sldId="8179"/>
            <ac:spMk id="30" creationId="{E89DF0F8-B5DD-129D-D10B-1C7A07951C28}"/>
          </ac:spMkLst>
        </pc:spChg>
        <pc:spChg chg="add mod topLvl">
          <ac:chgData name="CISNEROS ROJAS, CAMILA GEORGINA" userId="c56cbc2a-55cd-4a0d-b56e-a0bfe880dc94" providerId="ADAL" clId="{BF859A91-FA63-4DC9-AD14-A4569BDBEE57}" dt="2025-03-05T16:15:02.466" v="3507" actId="165"/>
          <ac:spMkLst>
            <pc:docMk/>
            <pc:sldMk cId="256299114" sldId="8179"/>
            <ac:spMk id="31" creationId="{30851076-F204-6590-9AEB-19120E139B49}"/>
          </ac:spMkLst>
        </pc:spChg>
        <pc:spChg chg="add mod topLvl">
          <ac:chgData name="CISNEROS ROJAS, CAMILA GEORGINA" userId="c56cbc2a-55cd-4a0d-b56e-a0bfe880dc94" providerId="ADAL" clId="{BF859A91-FA63-4DC9-AD14-A4569BDBEE57}" dt="2025-03-05T16:15:02.466" v="3507" actId="165"/>
          <ac:spMkLst>
            <pc:docMk/>
            <pc:sldMk cId="256299114" sldId="8179"/>
            <ac:spMk id="32" creationId="{151B05ED-1752-80F7-D176-E7A6D7B458CD}"/>
          </ac:spMkLst>
        </pc:spChg>
        <pc:spChg chg="add mod topLvl">
          <ac:chgData name="CISNEROS ROJAS, CAMILA GEORGINA" userId="c56cbc2a-55cd-4a0d-b56e-a0bfe880dc94" providerId="ADAL" clId="{BF859A91-FA63-4DC9-AD14-A4569BDBEE57}" dt="2025-03-05T16:15:02.466" v="3507" actId="165"/>
          <ac:spMkLst>
            <pc:docMk/>
            <pc:sldMk cId="256299114" sldId="8179"/>
            <ac:spMk id="33" creationId="{188D7C65-671F-1B70-6AD2-B09BFA6605EE}"/>
          </ac:spMkLst>
        </pc:spChg>
        <pc:spChg chg="add mod topLvl">
          <ac:chgData name="CISNEROS ROJAS, CAMILA GEORGINA" userId="c56cbc2a-55cd-4a0d-b56e-a0bfe880dc94" providerId="ADAL" clId="{BF859A91-FA63-4DC9-AD14-A4569BDBEE57}" dt="2025-03-05T16:15:02.466" v="3507" actId="165"/>
          <ac:spMkLst>
            <pc:docMk/>
            <pc:sldMk cId="256299114" sldId="8179"/>
            <ac:spMk id="34" creationId="{439ADF8D-B5A0-1340-2590-F1E236EA588E}"/>
          </ac:spMkLst>
        </pc:spChg>
        <pc:spChg chg="add mod topLvl">
          <ac:chgData name="CISNEROS ROJAS, CAMILA GEORGINA" userId="c56cbc2a-55cd-4a0d-b56e-a0bfe880dc94" providerId="ADAL" clId="{BF859A91-FA63-4DC9-AD14-A4569BDBEE57}" dt="2025-03-05T16:15:02.466" v="3507" actId="165"/>
          <ac:spMkLst>
            <pc:docMk/>
            <pc:sldMk cId="256299114" sldId="8179"/>
            <ac:spMk id="35" creationId="{83BEDE65-DC2C-136C-CFB4-A7150140BD21}"/>
          </ac:spMkLst>
        </pc:spChg>
        <pc:spChg chg="add mod topLvl">
          <ac:chgData name="CISNEROS ROJAS, CAMILA GEORGINA" userId="c56cbc2a-55cd-4a0d-b56e-a0bfe880dc94" providerId="ADAL" clId="{BF859A91-FA63-4DC9-AD14-A4569BDBEE57}" dt="2025-03-05T16:15:02.466" v="3507" actId="165"/>
          <ac:spMkLst>
            <pc:docMk/>
            <pc:sldMk cId="256299114" sldId="8179"/>
            <ac:spMk id="36" creationId="{1CF9251C-4AD7-08E9-7E33-997EFDAAE323}"/>
          </ac:spMkLst>
        </pc:spChg>
        <pc:spChg chg="add mod topLvl">
          <ac:chgData name="CISNEROS ROJAS, CAMILA GEORGINA" userId="c56cbc2a-55cd-4a0d-b56e-a0bfe880dc94" providerId="ADAL" clId="{BF859A91-FA63-4DC9-AD14-A4569BDBEE57}" dt="2025-03-05T16:15:02.466" v="3507" actId="165"/>
          <ac:spMkLst>
            <pc:docMk/>
            <pc:sldMk cId="256299114" sldId="8179"/>
            <ac:spMk id="40" creationId="{74CC078B-77EB-C651-2A12-42EFBBD41422}"/>
          </ac:spMkLst>
        </pc:spChg>
        <pc:spChg chg="add mod topLvl">
          <ac:chgData name="CISNEROS ROJAS, CAMILA GEORGINA" userId="c56cbc2a-55cd-4a0d-b56e-a0bfe880dc94" providerId="ADAL" clId="{BF859A91-FA63-4DC9-AD14-A4569BDBEE57}" dt="2025-03-05T16:22:34.380" v="3766" actId="20577"/>
          <ac:spMkLst>
            <pc:docMk/>
            <pc:sldMk cId="256299114" sldId="8179"/>
            <ac:spMk id="41" creationId="{14B788B7-9971-1F1A-DFDA-FB6FC1349E9E}"/>
          </ac:spMkLst>
        </pc:spChg>
        <pc:spChg chg="add mod topLvl">
          <ac:chgData name="CISNEROS ROJAS, CAMILA GEORGINA" userId="c56cbc2a-55cd-4a0d-b56e-a0bfe880dc94" providerId="ADAL" clId="{BF859A91-FA63-4DC9-AD14-A4569BDBEE57}" dt="2025-03-05T16:25:30.302" v="3931" actId="20577"/>
          <ac:spMkLst>
            <pc:docMk/>
            <pc:sldMk cId="256299114" sldId="8179"/>
            <ac:spMk id="42" creationId="{6BBF1E4A-AE24-461E-32FC-6514E018C0EB}"/>
          </ac:spMkLst>
        </pc:spChg>
        <pc:spChg chg="add mod topLvl">
          <ac:chgData name="CISNEROS ROJAS, CAMILA GEORGINA" userId="c56cbc2a-55cd-4a0d-b56e-a0bfe880dc94" providerId="ADAL" clId="{BF859A91-FA63-4DC9-AD14-A4569BDBEE57}" dt="2025-03-05T16:15:02.466" v="3507" actId="165"/>
          <ac:spMkLst>
            <pc:docMk/>
            <pc:sldMk cId="256299114" sldId="8179"/>
            <ac:spMk id="43" creationId="{D34A1656-BCB3-2EE2-286D-20A975012015}"/>
          </ac:spMkLst>
        </pc:spChg>
        <pc:spChg chg="add mod topLvl">
          <ac:chgData name="CISNEROS ROJAS, CAMILA GEORGINA" userId="c56cbc2a-55cd-4a0d-b56e-a0bfe880dc94" providerId="ADAL" clId="{BF859A91-FA63-4DC9-AD14-A4569BDBEE57}" dt="2025-03-06T14:51:35.229" v="15430" actId="1076"/>
          <ac:spMkLst>
            <pc:docMk/>
            <pc:sldMk cId="256299114" sldId="8179"/>
            <ac:spMk id="44" creationId="{1FD1EF36-BF33-1601-50B8-814B56FB04D5}"/>
          </ac:spMkLst>
        </pc:spChg>
        <pc:spChg chg="add mod topLvl">
          <ac:chgData name="CISNEROS ROJAS, CAMILA GEORGINA" userId="c56cbc2a-55cd-4a0d-b56e-a0bfe880dc94" providerId="ADAL" clId="{BF859A91-FA63-4DC9-AD14-A4569BDBEE57}" dt="2025-03-06T14:54:12.267" v="15550" actId="1076"/>
          <ac:spMkLst>
            <pc:docMk/>
            <pc:sldMk cId="256299114" sldId="8179"/>
            <ac:spMk id="45" creationId="{85705925-46EE-54D9-4252-5894CE75B5A7}"/>
          </ac:spMkLst>
        </pc:spChg>
        <pc:spChg chg="add mod topLvl">
          <ac:chgData name="CISNEROS ROJAS, CAMILA GEORGINA" userId="c56cbc2a-55cd-4a0d-b56e-a0bfe880dc94" providerId="ADAL" clId="{BF859A91-FA63-4DC9-AD14-A4569BDBEE57}" dt="2025-03-06T14:55:04.913" v="15692" actId="20577"/>
          <ac:spMkLst>
            <pc:docMk/>
            <pc:sldMk cId="256299114" sldId="8179"/>
            <ac:spMk id="46" creationId="{40FAD8D7-1D37-1927-C6BF-3FEAAEAD5194}"/>
          </ac:spMkLst>
        </pc:spChg>
        <pc:spChg chg="add del mod topLvl">
          <ac:chgData name="CISNEROS ROJAS, CAMILA GEORGINA" userId="c56cbc2a-55cd-4a0d-b56e-a0bfe880dc94" providerId="ADAL" clId="{BF859A91-FA63-4DC9-AD14-A4569BDBEE57}" dt="2025-03-05T16:25:14.181" v="3925" actId="478"/>
          <ac:spMkLst>
            <pc:docMk/>
            <pc:sldMk cId="256299114" sldId="8179"/>
            <ac:spMk id="47" creationId="{30198D9C-1428-C49B-4CE7-31129735E32E}"/>
          </ac:spMkLst>
        </pc:spChg>
        <pc:spChg chg="add del mod topLvl">
          <ac:chgData name="CISNEROS ROJAS, CAMILA GEORGINA" userId="c56cbc2a-55cd-4a0d-b56e-a0bfe880dc94" providerId="ADAL" clId="{BF859A91-FA63-4DC9-AD14-A4569BDBEE57}" dt="2025-03-05T16:25:35.167" v="3932" actId="478"/>
          <ac:spMkLst>
            <pc:docMk/>
            <pc:sldMk cId="256299114" sldId="8179"/>
            <ac:spMk id="48" creationId="{DDE2ACA5-AE81-B264-0EEC-2C34D80C317C}"/>
          </ac:spMkLst>
        </pc:spChg>
        <pc:spChg chg="add mod topLvl">
          <ac:chgData name="CISNEROS ROJAS, CAMILA GEORGINA" userId="c56cbc2a-55cd-4a0d-b56e-a0bfe880dc94" providerId="ADAL" clId="{BF859A91-FA63-4DC9-AD14-A4569BDBEE57}" dt="2025-03-06T13:42:04.863" v="14288" actId="20577"/>
          <ac:spMkLst>
            <pc:docMk/>
            <pc:sldMk cId="256299114" sldId="8179"/>
            <ac:spMk id="49" creationId="{135A154E-E1D8-E0EA-0802-1DA970891AA1}"/>
          </ac:spMkLst>
        </pc:spChg>
        <pc:spChg chg="add mod topLvl">
          <ac:chgData name="CISNEROS ROJAS, CAMILA GEORGINA" userId="c56cbc2a-55cd-4a0d-b56e-a0bfe880dc94" providerId="ADAL" clId="{BF859A91-FA63-4DC9-AD14-A4569BDBEE57}" dt="2025-03-06T14:52:53.935" v="15524" actId="20577"/>
          <ac:spMkLst>
            <pc:docMk/>
            <pc:sldMk cId="256299114" sldId="8179"/>
            <ac:spMk id="50" creationId="{2570A5AF-948F-9D13-1B03-1A69F3973CD7}"/>
          </ac:spMkLst>
        </pc:spChg>
        <pc:spChg chg="add mod topLvl">
          <ac:chgData name="CISNEROS ROJAS, CAMILA GEORGINA" userId="c56cbc2a-55cd-4a0d-b56e-a0bfe880dc94" providerId="ADAL" clId="{BF859A91-FA63-4DC9-AD14-A4569BDBEE57}" dt="2025-03-05T16:15:02.466" v="3507" actId="165"/>
          <ac:spMkLst>
            <pc:docMk/>
            <pc:sldMk cId="256299114" sldId="8179"/>
            <ac:spMk id="51" creationId="{2219EEE5-53DD-9B3D-0CCE-36B49649D1B4}"/>
          </ac:spMkLst>
        </pc:spChg>
        <pc:spChg chg="add mod topLvl">
          <ac:chgData name="CISNEROS ROJAS, CAMILA GEORGINA" userId="c56cbc2a-55cd-4a0d-b56e-a0bfe880dc94" providerId="ADAL" clId="{BF859A91-FA63-4DC9-AD14-A4569BDBEE57}" dt="2025-03-05T16:15:02.466" v="3507" actId="165"/>
          <ac:spMkLst>
            <pc:docMk/>
            <pc:sldMk cId="256299114" sldId="8179"/>
            <ac:spMk id="52" creationId="{9C0F103F-EB30-CFDD-FD54-B4F1C7D6AA51}"/>
          </ac:spMkLst>
        </pc:spChg>
        <pc:spChg chg="add mod topLvl">
          <ac:chgData name="CISNEROS ROJAS, CAMILA GEORGINA" userId="c56cbc2a-55cd-4a0d-b56e-a0bfe880dc94" providerId="ADAL" clId="{BF859A91-FA63-4DC9-AD14-A4569BDBEE57}" dt="2025-03-05T16:15:02.466" v="3507" actId="165"/>
          <ac:spMkLst>
            <pc:docMk/>
            <pc:sldMk cId="256299114" sldId="8179"/>
            <ac:spMk id="53" creationId="{0357DB91-35B6-B398-16FD-7CE95D671B39}"/>
          </ac:spMkLst>
        </pc:spChg>
        <pc:spChg chg="add mod topLvl">
          <ac:chgData name="CISNEROS ROJAS, CAMILA GEORGINA" userId="c56cbc2a-55cd-4a0d-b56e-a0bfe880dc94" providerId="ADAL" clId="{BF859A91-FA63-4DC9-AD14-A4569BDBEE57}" dt="2025-03-05T16:15:02.466" v="3507" actId="165"/>
          <ac:spMkLst>
            <pc:docMk/>
            <pc:sldMk cId="256299114" sldId="8179"/>
            <ac:spMk id="54" creationId="{FBB3754D-DEFA-01D0-6C0D-138004E08081}"/>
          </ac:spMkLst>
        </pc:spChg>
        <pc:spChg chg="add mod topLvl">
          <ac:chgData name="CISNEROS ROJAS, CAMILA GEORGINA" userId="c56cbc2a-55cd-4a0d-b56e-a0bfe880dc94" providerId="ADAL" clId="{BF859A91-FA63-4DC9-AD14-A4569BDBEE57}" dt="2025-03-05T16:15:02.466" v="3507" actId="165"/>
          <ac:spMkLst>
            <pc:docMk/>
            <pc:sldMk cId="256299114" sldId="8179"/>
            <ac:spMk id="55" creationId="{7C71F85C-1055-31A5-D63F-8C5ED72025CD}"/>
          </ac:spMkLst>
        </pc:spChg>
        <pc:spChg chg="add del mod topLvl">
          <ac:chgData name="CISNEROS ROJAS, CAMILA GEORGINA" userId="c56cbc2a-55cd-4a0d-b56e-a0bfe880dc94" providerId="ADAL" clId="{BF859A91-FA63-4DC9-AD14-A4569BDBEE57}" dt="2025-03-05T16:24:56.590" v="3916" actId="478"/>
          <ac:spMkLst>
            <pc:docMk/>
            <pc:sldMk cId="256299114" sldId="8179"/>
            <ac:spMk id="56" creationId="{D7467D2F-B615-EC32-328C-A8E026C0810F}"/>
          </ac:spMkLst>
        </pc:spChg>
        <pc:grpChg chg="add del mod">
          <ac:chgData name="CISNEROS ROJAS, CAMILA GEORGINA" userId="c56cbc2a-55cd-4a0d-b56e-a0bfe880dc94" providerId="ADAL" clId="{BF859A91-FA63-4DC9-AD14-A4569BDBEE57}" dt="2025-03-05T16:15:02.466" v="3507" actId="165"/>
          <ac:grpSpMkLst>
            <pc:docMk/>
            <pc:sldMk cId="256299114" sldId="8179"/>
            <ac:grpSpMk id="57" creationId="{E304F744-4124-B954-2C5E-9B0C529B7736}"/>
          </ac:grpSpMkLst>
        </pc:grpChg>
        <pc:cxnChg chg="add mod topLvl">
          <ac:chgData name="CISNEROS ROJAS, CAMILA GEORGINA" userId="c56cbc2a-55cd-4a0d-b56e-a0bfe880dc94" providerId="ADAL" clId="{BF859A91-FA63-4DC9-AD14-A4569BDBEE57}" dt="2025-03-05T16:27:10.253" v="4124" actId="14100"/>
          <ac:cxnSpMkLst>
            <pc:docMk/>
            <pc:sldMk cId="256299114" sldId="8179"/>
            <ac:cxnSpMk id="3" creationId="{133BBB84-8A07-ACDC-F45C-FB8F20D32F5E}"/>
          </ac:cxnSpMkLst>
        </pc:cxnChg>
        <pc:cxnChg chg="add mod topLvl">
          <ac:chgData name="CISNEROS ROJAS, CAMILA GEORGINA" userId="c56cbc2a-55cd-4a0d-b56e-a0bfe880dc94" providerId="ADAL" clId="{BF859A91-FA63-4DC9-AD14-A4569BDBEE57}" dt="2025-03-05T16:25:08.005" v="3922" actId="14100"/>
          <ac:cxnSpMkLst>
            <pc:docMk/>
            <pc:sldMk cId="256299114" sldId="8179"/>
            <ac:cxnSpMk id="4" creationId="{F18A587F-A43C-9E2C-9561-31CE244F5AA5}"/>
          </ac:cxnSpMkLst>
        </pc:cxnChg>
        <pc:cxnChg chg="add del mod topLvl">
          <ac:chgData name="CISNEROS ROJAS, CAMILA GEORGINA" userId="c56cbc2a-55cd-4a0d-b56e-a0bfe880dc94" providerId="ADAL" clId="{BF859A91-FA63-4DC9-AD14-A4569BDBEE57}" dt="2025-03-05T16:24:59.974" v="3920" actId="478"/>
          <ac:cxnSpMkLst>
            <pc:docMk/>
            <pc:sldMk cId="256299114" sldId="8179"/>
            <ac:cxnSpMk id="5" creationId="{DB6EA150-9CB8-C671-4C7D-E003841687C2}"/>
          </ac:cxnSpMkLst>
        </pc:cxnChg>
        <pc:cxnChg chg="add mod topLvl">
          <ac:chgData name="CISNEROS ROJAS, CAMILA GEORGINA" userId="c56cbc2a-55cd-4a0d-b56e-a0bfe880dc94" providerId="ADAL" clId="{BF859A91-FA63-4DC9-AD14-A4569BDBEE57}" dt="2025-03-05T16:15:02.466" v="3507" actId="165"/>
          <ac:cxnSpMkLst>
            <pc:docMk/>
            <pc:sldMk cId="256299114" sldId="8179"/>
            <ac:cxnSpMk id="6" creationId="{71F274B5-8FF9-4949-19FB-E4F367652594}"/>
          </ac:cxnSpMkLst>
        </pc:cxnChg>
        <pc:cxnChg chg="add mod topLvl">
          <ac:chgData name="CISNEROS ROJAS, CAMILA GEORGINA" userId="c56cbc2a-55cd-4a0d-b56e-a0bfe880dc94" providerId="ADAL" clId="{BF859A91-FA63-4DC9-AD14-A4569BDBEE57}" dt="2025-03-05T16:15:02.466" v="3507" actId="165"/>
          <ac:cxnSpMkLst>
            <pc:docMk/>
            <pc:sldMk cId="256299114" sldId="8179"/>
            <ac:cxnSpMk id="7" creationId="{4FFB4874-25DF-6C93-E7AF-6C109007AE44}"/>
          </ac:cxnSpMkLst>
        </pc:cxnChg>
        <pc:cxnChg chg="add del mod topLvl">
          <ac:chgData name="CISNEROS ROJAS, CAMILA GEORGINA" userId="c56cbc2a-55cd-4a0d-b56e-a0bfe880dc94" providerId="ADAL" clId="{BF859A91-FA63-4DC9-AD14-A4569BDBEE57}" dt="2025-03-05T16:24:53.100" v="3914" actId="478"/>
          <ac:cxnSpMkLst>
            <pc:docMk/>
            <pc:sldMk cId="256299114" sldId="8179"/>
            <ac:cxnSpMk id="8" creationId="{42594390-707A-CF7A-615B-727C6F5D60B6}"/>
          </ac:cxnSpMkLst>
        </pc:cxnChg>
        <pc:cxnChg chg="add mod topLvl">
          <ac:chgData name="CISNEROS ROJAS, CAMILA GEORGINA" userId="c56cbc2a-55cd-4a0d-b56e-a0bfe880dc94" providerId="ADAL" clId="{BF859A91-FA63-4DC9-AD14-A4569BDBEE57}" dt="2025-03-05T16:15:02.466" v="3507" actId="165"/>
          <ac:cxnSpMkLst>
            <pc:docMk/>
            <pc:sldMk cId="256299114" sldId="8179"/>
            <ac:cxnSpMk id="9" creationId="{1B24891A-7CEF-9CE5-C95E-C167C213889D}"/>
          </ac:cxnSpMkLst>
        </pc:cxnChg>
        <pc:cxnChg chg="add mod topLvl">
          <ac:chgData name="CISNEROS ROJAS, CAMILA GEORGINA" userId="c56cbc2a-55cd-4a0d-b56e-a0bfe880dc94" providerId="ADAL" clId="{BF859A91-FA63-4DC9-AD14-A4569BDBEE57}" dt="2025-03-05T16:15:02.466" v="3507" actId="165"/>
          <ac:cxnSpMkLst>
            <pc:docMk/>
            <pc:sldMk cId="256299114" sldId="8179"/>
            <ac:cxnSpMk id="10" creationId="{809B9B4C-9FD7-F08F-057E-F99EA492FEA6}"/>
          </ac:cxnSpMkLst>
        </pc:cxnChg>
        <pc:cxnChg chg="add mod topLvl">
          <ac:chgData name="CISNEROS ROJAS, CAMILA GEORGINA" userId="c56cbc2a-55cd-4a0d-b56e-a0bfe880dc94" providerId="ADAL" clId="{BF859A91-FA63-4DC9-AD14-A4569BDBEE57}" dt="2025-03-05T16:15:02.466" v="3507" actId="165"/>
          <ac:cxnSpMkLst>
            <pc:docMk/>
            <pc:sldMk cId="256299114" sldId="8179"/>
            <ac:cxnSpMk id="37" creationId="{5A4F45EB-163E-C628-AB29-B75630EA689F}"/>
          </ac:cxnSpMkLst>
        </pc:cxnChg>
        <pc:cxnChg chg="add mod topLvl">
          <ac:chgData name="CISNEROS ROJAS, CAMILA GEORGINA" userId="c56cbc2a-55cd-4a0d-b56e-a0bfe880dc94" providerId="ADAL" clId="{BF859A91-FA63-4DC9-AD14-A4569BDBEE57}" dt="2025-03-05T16:15:02.466" v="3507" actId="165"/>
          <ac:cxnSpMkLst>
            <pc:docMk/>
            <pc:sldMk cId="256299114" sldId="8179"/>
            <ac:cxnSpMk id="38" creationId="{5CE6456A-E761-0C0F-F61A-2AA750F50EE4}"/>
          </ac:cxnSpMkLst>
        </pc:cxnChg>
        <pc:cxnChg chg="add del mod topLvl">
          <ac:chgData name="CISNEROS ROJAS, CAMILA GEORGINA" userId="c56cbc2a-55cd-4a0d-b56e-a0bfe880dc94" providerId="ADAL" clId="{BF859A91-FA63-4DC9-AD14-A4569BDBEE57}" dt="2025-03-05T16:24:59.357" v="3919" actId="478"/>
          <ac:cxnSpMkLst>
            <pc:docMk/>
            <pc:sldMk cId="256299114" sldId="8179"/>
            <ac:cxnSpMk id="39" creationId="{75C2C3A8-2CB8-9D33-8EDD-C8740F6C21FC}"/>
          </ac:cxnSpMkLst>
        </pc:cxnChg>
      </pc:sldChg>
      <pc:sldChg chg="addSp delSp modSp new mod ord">
        <pc:chgData name="CISNEROS ROJAS, CAMILA GEORGINA" userId="c56cbc2a-55cd-4a0d-b56e-a0bfe880dc94" providerId="ADAL" clId="{BF859A91-FA63-4DC9-AD14-A4569BDBEE57}" dt="2025-03-06T15:32:27.738" v="16059" actId="1076"/>
        <pc:sldMkLst>
          <pc:docMk/>
          <pc:sldMk cId="1488301824" sldId="8180"/>
        </pc:sldMkLst>
        <pc:spChg chg="mod">
          <ac:chgData name="CISNEROS ROJAS, CAMILA GEORGINA" userId="c56cbc2a-55cd-4a0d-b56e-a0bfe880dc94" providerId="ADAL" clId="{BF859A91-FA63-4DC9-AD14-A4569BDBEE57}" dt="2025-03-05T16:28:05.635" v="4163" actId="20577"/>
          <ac:spMkLst>
            <pc:docMk/>
            <pc:sldMk cId="1488301824" sldId="8180"/>
            <ac:spMk id="2" creationId="{31B45391-051F-DB31-67C8-5C86C624B466}"/>
          </ac:spMkLst>
        </pc:spChg>
        <pc:spChg chg="add mod">
          <ac:chgData name="CISNEROS ROJAS, CAMILA GEORGINA" userId="c56cbc2a-55cd-4a0d-b56e-a0bfe880dc94" providerId="ADAL" clId="{BF859A91-FA63-4DC9-AD14-A4569BDBEE57}" dt="2025-03-06T14:19:42.648" v="14799" actId="1076"/>
          <ac:spMkLst>
            <pc:docMk/>
            <pc:sldMk cId="1488301824" sldId="8180"/>
            <ac:spMk id="3" creationId="{1F5034E9-23F4-27FF-1450-21804AD33346}"/>
          </ac:spMkLst>
        </pc:spChg>
        <pc:spChg chg="add mod">
          <ac:chgData name="CISNEROS ROJAS, CAMILA GEORGINA" userId="c56cbc2a-55cd-4a0d-b56e-a0bfe880dc94" providerId="ADAL" clId="{BF859A91-FA63-4DC9-AD14-A4569BDBEE57}" dt="2025-03-06T14:19:44.952" v="14800" actId="1076"/>
          <ac:spMkLst>
            <pc:docMk/>
            <pc:sldMk cId="1488301824" sldId="8180"/>
            <ac:spMk id="4" creationId="{1390BCC0-F569-8AF1-0ED3-546926FFD2A5}"/>
          </ac:spMkLst>
        </pc:spChg>
        <pc:spChg chg="add mod">
          <ac:chgData name="CISNEROS ROJAS, CAMILA GEORGINA" userId="c56cbc2a-55cd-4a0d-b56e-a0bfe880dc94" providerId="ADAL" clId="{BF859A91-FA63-4DC9-AD14-A4569BDBEE57}" dt="2025-03-06T14:19:16.097" v="14789" actId="1076"/>
          <ac:spMkLst>
            <pc:docMk/>
            <pc:sldMk cId="1488301824" sldId="8180"/>
            <ac:spMk id="5" creationId="{8D35ACE9-2833-A288-E145-DD3A71C65875}"/>
          </ac:spMkLst>
        </pc:spChg>
        <pc:spChg chg="add mod">
          <ac:chgData name="CISNEROS ROJAS, CAMILA GEORGINA" userId="c56cbc2a-55cd-4a0d-b56e-a0bfe880dc94" providerId="ADAL" clId="{BF859A91-FA63-4DC9-AD14-A4569BDBEE57}" dt="2025-03-06T14:19:25.955" v="14793" actId="14100"/>
          <ac:spMkLst>
            <pc:docMk/>
            <pc:sldMk cId="1488301824" sldId="8180"/>
            <ac:spMk id="6" creationId="{98041751-4E8C-9977-49E6-7F271C71D0C2}"/>
          </ac:spMkLst>
        </pc:spChg>
        <pc:spChg chg="add mod">
          <ac:chgData name="CISNEROS ROJAS, CAMILA GEORGINA" userId="c56cbc2a-55cd-4a0d-b56e-a0bfe880dc94" providerId="ADAL" clId="{BF859A91-FA63-4DC9-AD14-A4569BDBEE57}" dt="2025-03-06T14:21:35.445" v="15023" actId="20577"/>
          <ac:spMkLst>
            <pc:docMk/>
            <pc:sldMk cId="1488301824" sldId="8180"/>
            <ac:spMk id="7" creationId="{CF75AAD5-6B1C-DE84-7AC4-F42009CCE403}"/>
          </ac:spMkLst>
        </pc:spChg>
        <pc:spChg chg="add mod">
          <ac:chgData name="CISNEROS ROJAS, CAMILA GEORGINA" userId="c56cbc2a-55cd-4a0d-b56e-a0bfe880dc94" providerId="ADAL" clId="{BF859A91-FA63-4DC9-AD14-A4569BDBEE57}" dt="2025-03-06T14:21:24.487" v="15003" actId="1076"/>
          <ac:spMkLst>
            <pc:docMk/>
            <pc:sldMk cId="1488301824" sldId="8180"/>
            <ac:spMk id="9" creationId="{3E1B3410-B8BC-DE3D-31D2-1EC6A0E95870}"/>
          </ac:spMkLst>
        </pc:spChg>
        <pc:spChg chg="add mod">
          <ac:chgData name="CISNEROS ROJAS, CAMILA GEORGINA" userId="c56cbc2a-55cd-4a0d-b56e-a0bfe880dc94" providerId="ADAL" clId="{BF859A91-FA63-4DC9-AD14-A4569BDBEE57}" dt="2025-03-06T14:22:02.062" v="15062" actId="20577"/>
          <ac:spMkLst>
            <pc:docMk/>
            <pc:sldMk cId="1488301824" sldId="8180"/>
            <ac:spMk id="10" creationId="{4DDC5E1B-2EB4-A877-1F4B-3CD915A3B4EB}"/>
          </ac:spMkLst>
        </pc:spChg>
        <pc:picChg chg="add del mod">
          <ac:chgData name="CISNEROS ROJAS, CAMILA GEORGINA" userId="c56cbc2a-55cd-4a0d-b56e-a0bfe880dc94" providerId="ADAL" clId="{BF859A91-FA63-4DC9-AD14-A4569BDBEE57}" dt="2025-03-06T15:30:54.811" v="16044" actId="478"/>
          <ac:picMkLst>
            <pc:docMk/>
            <pc:sldMk cId="1488301824" sldId="8180"/>
            <ac:picMk id="8" creationId="{96836AE1-3F0C-82A3-90D6-E149D363A71C}"/>
          </ac:picMkLst>
        </pc:picChg>
        <pc:picChg chg="add mod">
          <ac:chgData name="CISNEROS ROJAS, CAMILA GEORGINA" userId="c56cbc2a-55cd-4a0d-b56e-a0bfe880dc94" providerId="ADAL" clId="{BF859A91-FA63-4DC9-AD14-A4569BDBEE57}" dt="2025-03-06T15:32:27.738" v="16059" actId="1076"/>
          <ac:picMkLst>
            <pc:docMk/>
            <pc:sldMk cId="1488301824" sldId="8180"/>
            <ac:picMk id="12" creationId="{91008B53-16FB-5121-BBB9-0B3F3411C675}"/>
          </ac:picMkLst>
        </pc:picChg>
        <pc:picChg chg="add mod ord">
          <ac:chgData name="CISNEROS ROJAS, CAMILA GEORGINA" userId="c56cbc2a-55cd-4a0d-b56e-a0bfe880dc94" providerId="ADAL" clId="{BF859A91-FA63-4DC9-AD14-A4569BDBEE57}" dt="2025-03-06T15:32:25.721" v="16058" actId="1076"/>
          <ac:picMkLst>
            <pc:docMk/>
            <pc:sldMk cId="1488301824" sldId="8180"/>
            <ac:picMk id="14" creationId="{CFEFA131-35DD-89BA-3AA8-D1E071E50D78}"/>
          </ac:picMkLst>
        </pc:picChg>
      </pc:sldChg>
      <pc:sldChg chg="addSp delSp modSp new del mod">
        <pc:chgData name="CISNEROS ROJAS, CAMILA GEORGINA" userId="c56cbc2a-55cd-4a0d-b56e-a0bfe880dc94" providerId="ADAL" clId="{BF859A91-FA63-4DC9-AD14-A4569BDBEE57}" dt="2025-03-05T17:12:39.344" v="6344" actId="2696"/>
        <pc:sldMkLst>
          <pc:docMk/>
          <pc:sldMk cId="2323059358" sldId="8181"/>
        </pc:sldMkLst>
        <pc:spChg chg="mod">
          <ac:chgData name="CISNEROS ROJAS, CAMILA GEORGINA" userId="c56cbc2a-55cd-4a0d-b56e-a0bfe880dc94" providerId="ADAL" clId="{BF859A91-FA63-4DC9-AD14-A4569BDBEE57}" dt="2025-03-05T16:41:34.589" v="5131" actId="20577"/>
          <ac:spMkLst>
            <pc:docMk/>
            <pc:sldMk cId="2323059358" sldId="8181"/>
            <ac:spMk id="2" creationId="{6756B8D9-157F-D092-C66A-0C3EEE659F72}"/>
          </ac:spMkLst>
        </pc:spChg>
        <pc:spChg chg="add mod topLvl">
          <ac:chgData name="CISNEROS ROJAS, CAMILA GEORGINA" userId="c56cbc2a-55cd-4a0d-b56e-a0bfe880dc94" providerId="ADAL" clId="{BF859A91-FA63-4DC9-AD14-A4569BDBEE57}" dt="2025-03-05T16:53:35.536" v="5225" actId="164"/>
          <ac:spMkLst>
            <pc:docMk/>
            <pc:sldMk cId="2323059358" sldId="8181"/>
            <ac:spMk id="3" creationId="{D50014E6-FA8E-1798-4F6F-DC6DB95F05AC}"/>
          </ac:spMkLst>
        </pc:spChg>
        <pc:spChg chg="add mod topLvl">
          <ac:chgData name="CISNEROS ROJAS, CAMILA GEORGINA" userId="c56cbc2a-55cd-4a0d-b56e-a0bfe880dc94" providerId="ADAL" clId="{BF859A91-FA63-4DC9-AD14-A4569BDBEE57}" dt="2025-03-05T16:53:35.536" v="5225" actId="164"/>
          <ac:spMkLst>
            <pc:docMk/>
            <pc:sldMk cId="2323059358" sldId="8181"/>
            <ac:spMk id="4" creationId="{99E59ED1-5A53-9EFE-9D1F-2ABEABE3B01F}"/>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5" creationId="{4F6C04E0-0178-ED76-B465-4D011D113FC9}"/>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6" creationId="{4B3D0B2A-5C0B-84B5-47DD-C2358E5159AB}"/>
          </ac:spMkLst>
        </pc:spChg>
        <pc:spChg chg="mod">
          <ac:chgData name="CISNEROS ROJAS, CAMILA GEORGINA" userId="c56cbc2a-55cd-4a0d-b56e-a0bfe880dc94" providerId="ADAL" clId="{BF859A91-FA63-4DC9-AD14-A4569BDBEE57}" dt="2025-03-05T16:52:43.387" v="5144" actId="165"/>
          <ac:spMkLst>
            <pc:docMk/>
            <pc:sldMk cId="2323059358" sldId="8181"/>
            <ac:spMk id="8" creationId="{4486218B-6FCE-0A55-90E0-B5D96703D4ED}"/>
          </ac:spMkLst>
        </pc:spChg>
        <pc:spChg chg="mod">
          <ac:chgData name="CISNEROS ROJAS, CAMILA GEORGINA" userId="c56cbc2a-55cd-4a0d-b56e-a0bfe880dc94" providerId="ADAL" clId="{BF859A91-FA63-4DC9-AD14-A4569BDBEE57}" dt="2025-03-05T16:52:43.387" v="5144" actId="165"/>
          <ac:spMkLst>
            <pc:docMk/>
            <pc:sldMk cId="2323059358" sldId="8181"/>
            <ac:spMk id="9" creationId="{4257ED1D-D31A-AC41-94E5-01D5E6BD9055}"/>
          </ac:spMkLst>
        </pc:spChg>
        <pc:spChg chg="mod">
          <ac:chgData name="CISNEROS ROJAS, CAMILA GEORGINA" userId="c56cbc2a-55cd-4a0d-b56e-a0bfe880dc94" providerId="ADAL" clId="{BF859A91-FA63-4DC9-AD14-A4569BDBEE57}" dt="2025-03-05T16:52:43.387" v="5144" actId="165"/>
          <ac:spMkLst>
            <pc:docMk/>
            <pc:sldMk cId="2323059358" sldId="8181"/>
            <ac:spMk id="10" creationId="{53B0F324-2826-D46E-DF36-CDCAAA8B28FE}"/>
          </ac:spMkLst>
        </pc:spChg>
        <pc:spChg chg="mod">
          <ac:chgData name="CISNEROS ROJAS, CAMILA GEORGINA" userId="c56cbc2a-55cd-4a0d-b56e-a0bfe880dc94" providerId="ADAL" clId="{BF859A91-FA63-4DC9-AD14-A4569BDBEE57}" dt="2025-03-05T16:52:43.387" v="5144" actId="165"/>
          <ac:spMkLst>
            <pc:docMk/>
            <pc:sldMk cId="2323059358" sldId="8181"/>
            <ac:spMk id="11" creationId="{A1580678-548E-DDF7-FA97-52A814925AA5}"/>
          </ac:spMkLst>
        </pc:spChg>
        <pc:spChg chg="mod">
          <ac:chgData name="CISNEROS ROJAS, CAMILA GEORGINA" userId="c56cbc2a-55cd-4a0d-b56e-a0bfe880dc94" providerId="ADAL" clId="{BF859A91-FA63-4DC9-AD14-A4569BDBEE57}" dt="2025-03-05T16:52:43.387" v="5144" actId="165"/>
          <ac:spMkLst>
            <pc:docMk/>
            <pc:sldMk cId="2323059358" sldId="8181"/>
            <ac:spMk id="13" creationId="{F55F24FF-3844-76AE-B913-247DD99730BE}"/>
          </ac:spMkLst>
        </pc:spChg>
        <pc:spChg chg="mod">
          <ac:chgData name="CISNEROS ROJAS, CAMILA GEORGINA" userId="c56cbc2a-55cd-4a0d-b56e-a0bfe880dc94" providerId="ADAL" clId="{BF859A91-FA63-4DC9-AD14-A4569BDBEE57}" dt="2025-03-05T16:52:43.387" v="5144" actId="165"/>
          <ac:spMkLst>
            <pc:docMk/>
            <pc:sldMk cId="2323059358" sldId="8181"/>
            <ac:spMk id="14" creationId="{42F63A03-3650-1227-6B6E-DDE38256B7E5}"/>
          </ac:spMkLst>
        </pc:spChg>
        <pc:spChg chg="mod">
          <ac:chgData name="CISNEROS ROJAS, CAMILA GEORGINA" userId="c56cbc2a-55cd-4a0d-b56e-a0bfe880dc94" providerId="ADAL" clId="{BF859A91-FA63-4DC9-AD14-A4569BDBEE57}" dt="2025-03-05T16:52:43.387" v="5144" actId="165"/>
          <ac:spMkLst>
            <pc:docMk/>
            <pc:sldMk cId="2323059358" sldId="8181"/>
            <ac:spMk id="15" creationId="{2582CE0B-886F-E8E5-20AB-DAA45C02D6D6}"/>
          </ac:spMkLst>
        </pc:spChg>
        <pc:spChg chg="mod">
          <ac:chgData name="CISNEROS ROJAS, CAMILA GEORGINA" userId="c56cbc2a-55cd-4a0d-b56e-a0bfe880dc94" providerId="ADAL" clId="{BF859A91-FA63-4DC9-AD14-A4569BDBEE57}" dt="2025-03-05T16:52:43.387" v="5144" actId="165"/>
          <ac:spMkLst>
            <pc:docMk/>
            <pc:sldMk cId="2323059358" sldId="8181"/>
            <ac:spMk id="16" creationId="{5668D5ED-1BED-45FB-4F7F-1F158BBAE2C5}"/>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17" creationId="{DA905FE9-54A1-45BA-8DA8-B9FCCB898AB8}"/>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18" creationId="{548DFCB7-5CEA-90AA-6C0E-F96C4B708061}"/>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19" creationId="{66AD4A19-184D-262B-93E6-C5DB3057B3F5}"/>
          </ac:spMkLst>
        </pc:spChg>
        <pc:spChg chg="add del mod topLvl">
          <ac:chgData name="CISNEROS ROJAS, CAMILA GEORGINA" userId="c56cbc2a-55cd-4a0d-b56e-a0bfe880dc94" providerId="ADAL" clId="{BF859A91-FA63-4DC9-AD14-A4569BDBEE57}" dt="2025-03-05T16:56:35.933" v="5252" actId="478"/>
          <ac:spMkLst>
            <pc:docMk/>
            <pc:sldMk cId="2323059358" sldId="8181"/>
            <ac:spMk id="20" creationId="{5A556D0B-17C8-9A26-668C-5042569DEFA5}"/>
          </ac:spMkLst>
        </pc:spChg>
        <pc:spChg chg="add del mod topLvl">
          <ac:chgData name="CISNEROS ROJAS, CAMILA GEORGINA" userId="c56cbc2a-55cd-4a0d-b56e-a0bfe880dc94" providerId="ADAL" clId="{BF859A91-FA63-4DC9-AD14-A4569BDBEE57}" dt="2025-03-05T16:56:26.827" v="5250" actId="478"/>
          <ac:spMkLst>
            <pc:docMk/>
            <pc:sldMk cId="2323059358" sldId="8181"/>
            <ac:spMk id="21" creationId="{E40EA7F0-E282-F72A-9D8A-1F16BC18DCCC}"/>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22" creationId="{9F42593A-3F75-C941-A868-ECB0E46D0F46}"/>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23" creationId="{6F6B6F8C-1777-2A95-2BD1-BB04EFDBE46E}"/>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24" creationId="{28ACF5C6-0234-AE9C-6897-132BCE441B2A}"/>
          </ac:spMkLst>
        </pc:spChg>
        <pc:spChg chg="add del mod topLvl">
          <ac:chgData name="CISNEROS ROJAS, CAMILA GEORGINA" userId="c56cbc2a-55cd-4a0d-b56e-a0bfe880dc94" providerId="ADAL" clId="{BF859A91-FA63-4DC9-AD14-A4569BDBEE57}" dt="2025-03-05T16:54:45.698" v="5229" actId="478"/>
          <ac:spMkLst>
            <pc:docMk/>
            <pc:sldMk cId="2323059358" sldId="8181"/>
            <ac:spMk id="25" creationId="{8CF9BFCC-2B82-0D65-8FC8-E4B6C8424C31}"/>
          </ac:spMkLst>
        </pc:spChg>
        <pc:spChg chg="add mod topLvl">
          <ac:chgData name="CISNEROS ROJAS, CAMILA GEORGINA" userId="c56cbc2a-55cd-4a0d-b56e-a0bfe880dc94" providerId="ADAL" clId="{BF859A91-FA63-4DC9-AD14-A4569BDBEE57}" dt="2025-03-05T17:02:09.961" v="5726" actId="1076"/>
          <ac:spMkLst>
            <pc:docMk/>
            <pc:sldMk cId="2323059358" sldId="8181"/>
            <ac:spMk id="28" creationId="{0C182253-794D-9BDB-AFF1-E6BF2343EF27}"/>
          </ac:spMkLst>
        </pc:spChg>
        <pc:spChg chg="add mod topLvl">
          <ac:chgData name="CISNEROS ROJAS, CAMILA GEORGINA" userId="c56cbc2a-55cd-4a0d-b56e-a0bfe880dc94" providerId="ADAL" clId="{BF859A91-FA63-4DC9-AD14-A4569BDBEE57}" dt="2025-03-05T17:02:03.919" v="5725" actId="14100"/>
          <ac:spMkLst>
            <pc:docMk/>
            <pc:sldMk cId="2323059358" sldId="8181"/>
            <ac:spMk id="29" creationId="{37075177-2633-EA9F-574E-DB538E772A89}"/>
          </ac:spMkLst>
        </pc:spChg>
        <pc:spChg chg="add mod topLvl">
          <ac:chgData name="CISNEROS ROJAS, CAMILA GEORGINA" userId="c56cbc2a-55cd-4a0d-b56e-a0bfe880dc94" providerId="ADAL" clId="{BF859A91-FA63-4DC9-AD14-A4569BDBEE57}" dt="2025-03-05T16:56:00.768" v="5245" actId="14100"/>
          <ac:spMkLst>
            <pc:docMk/>
            <pc:sldMk cId="2323059358" sldId="8181"/>
            <ac:spMk id="30" creationId="{608E05F4-0800-1C20-920A-C976858492AC}"/>
          </ac:spMkLst>
        </pc:spChg>
        <pc:spChg chg="add mod topLvl">
          <ac:chgData name="CISNEROS ROJAS, CAMILA GEORGINA" userId="c56cbc2a-55cd-4a0d-b56e-a0bfe880dc94" providerId="ADAL" clId="{BF859A91-FA63-4DC9-AD14-A4569BDBEE57}" dt="2025-03-05T16:55:57.824" v="5244" actId="14100"/>
          <ac:spMkLst>
            <pc:docMk/>
            <pc:sldMk cId="2323059358" sldId="8181"/>
            <ac:spMk id="31" creationId="{F002EF34-E2B5-4A1D-2AF2-A8E42FF918C4}"/>
          </ac:spMkLst>
        </pc:spChg>
        <pc:spChg chg="add mod topLvl">
          <ac:chgData name="CISNEROS ROJAS, CAMILA GEORGINA" userId="c56cbc2a-55cd-4a0d-b56e-a0bfe880dc94" providerId="ADAL" clId="{BF859A91-FA63-4DC9-AD14-A4569BDBEE57}" dt="2025-03-05T17:01:06.128" v="5718" actId="404"/>
          <ac:spMkLst>
            <pc:docMk/>
            <pc:sldMk cId="2323059358" sldId="8181"/>
            <ac:spMk id="32" creationId="{AD1E9D17-A395-5C57-1525-18A5A8598C79}"/>
          </ac:spMkLst>
        </pc:spChg>
        <pc:spChg chg="add mod topLvl">
          <ac:chgData name="CISNEROS ROJAS, CAMILA GEORGINA" userId="c56cbc2a-55cd-4a0d-b56e-a0bfe880dc94" providerId="ADAL" clId="{BF859A91-FA63-4DC9-AD14-A4569BDBEE57}" dt="2025-03-05T17:01:06.128" v="5718" actId="404"/>
          <ac:spMkLst>
            <pc:docMk/>
            <pc:sldMk cId="2323059358" sldId="8181"/>
            <ac:spMk id="33" creationId="{53EE6810-7DCF-1250-FA44-DE71569A2F45}"/>
          </ac:spMkLst>
        </pc:spChg>
        <pc:spChg chg="add mod topLvl">
          <ac:chgData name="CISNEROS ROJAS, CAMILA GEORGINA" userId="c56cbc2a-55cd-4a0d-b56e-a0bfe880dc94" providerId="ADAL" clId="{BF859A91-FA63-4DC9-AD14-A4569BDBEE57}" dt="2025-03-05T17:01:06.128" v="5718" actId="404"/>
          <ac:spMkLst>
            <pc:docMk/>
            <pc:sldMk cId="2323059358" sldId="8181"/>
            <ac:spMk id="34" creationId="{9AFCFF14-B988-F728-4918-C6ADDBFFD833}"/>
          </ac:spMkLst>
        </pc:spChg>
        <pc:spChg chg="add mod topLvl">
          <ac:chgData name="CISNEROS ROJAS, CAMILA GEORGINA" userId="c56cbc2a-55cd-4a0d-b56e-a0bfe880dc94" providerId="ADAL" clId="{BF859A91-FA63-4DC9-AD14-A4569BDBEE57}" dt="2025-03-05T17:01:06.128" v="5718" actId="404"/>
          <ac:spMkLst>
            <pc:docMk/>
            <pc:sldMk cId="2323059358" sldId="8181"/>
            <ac:spMk id="35" creationId="{2E68415F-7FA1-5576-14FE-4B23A78005FA}"/>
          </ac:spMkLst>
        </pc:spChg>
        <pc:spChg chg="add mod topLvl">
          <ac:chgData name="CISNEROS ROJAS, CAMILA GEORGINA" userId="c56cbc2a-55cd-4a0d-b56e-a0bfe880dc94" providerId="ADAL" clId="{BF859A91-FA63-4DC9-AD14-A4569BDBEE57}" dt="2025-03-05T17:01:06.128" v="5718" actId="404"/>
          <ac:spMkLst>
            <pc:docMk/>
            <pc:sldMk cId="2323059358" sldId="8181"/>
            <ac:spMk id="36" creationId="{E88B31C2-7996-3F8D-49BE-AF5342142C04}"/>
          </ac:spMkLst>
        </pc:spChg>
        <pc:spChg chg="add mod topLvl">
          <ac:chgData name="CISNEROS ROJAS, CAMILA GEORGINA" userId="c56cbc2a-55cd-4a0d-b56e-a0bfe880dc94" providerId="ADAL" clId="{BF859A91-FA63-4DC9-AD14-A4569BDBEE57}" dt="2025-03-05T17:01:06.128" v="5718" actId="404"/>
          <ac:spMkLst>
            <pc:docMk/>
            <pc:sldMk cId="2323059358" sldId="8181"/>
            <ac:spMk id="37" creationId="{D34C365D-CAD2-C22E-3051-C64531B62F1D}"/>
          </ac:spMkLst>
        </pc:spChg>
        <pc:spChg chg="add mod topLvl">
          <ac:chgData name="CISNEROS ROJAS, CAMILA GEORGINA" userId="c56cbc2a-55cd-4a0d-b56e-a0bfe880dc94" providerId="ADAL" clId="{BF859A91-FA63-4DC9-AD14-A4569BDBEE57}" dt="2025-03-05T17:01:06.128" v="5718" actId="404"/>
          <ac:spMkLst>
            <pc:docMk/>
            <pc:sldMk cId="2323059358" sldId="8181"/>
            <ac:spMk id="38" creationId="{0FFFC117-44CD-50EA-7DB7-F5EE663F47E0}"/>
          </ac:spMkLst>
        </pc:spChg>
        <pc:spChg chg="add mod topLvl">
          <ac:chgData name="CISNEROS ROJAS, CAMILA GEORGINA" userId="c56cbc2a-55cd-4a0d-b56e-a0bfe880dc94" providerId="ADAL" clId="{BF859A91-FA63-4DC9-AD14-A4569BDBEE57}" dt="2025-03-05T17:02:09.961" v="5726" actId="1076"/>
          <ac:spMkLst>
            <pc:docMk/>
            <pc:sldMk cId="2323059358" sldId="8181"/>
            <ac:spMk id="39" creationId="{E087F244-C44F-D5D0-5A14-85B3BA260059}"/>
          </ac:spMkLst>
        </pc:spChg>
        <pc:spChg chg="add mod topLvl">
          <ac:chgData name="CISNEROS ROJAS, CAMILA GEORGINA" userId="c56cbc2a-55cd-4a0d-b56e-a0bfe880dc94" providerId="ADAL" clId="{BF859A91-FA63-4DC9-AD14-A4569BDBEE57}" dt="2025-03-05T17:02:09.961" v="5726" actId="1076"/>
          <ac:spMkLst>
            <pc:docMk/>
            <pc:sldMk cId="2323059358" sldId="8181"/>
            <ac:spMk id="40" creationId="{8BA23B0D-2120-BCDB-4DF8-DDC79528D82C}"/>
          </ac:spMkLst>
        </pc:spChg>
        <pc:spChg chg="add mod topLvl">
          <ac:chgData name="CISNEROS ROJAS, CAMILA GEORGINA" userId="c56cbc2a-55cd-4a0d-b56e-a0bfe880dc94" providerId="ADAL" clId="{BF859A91-FA63-4DC9-AD14-A4569BDBEE57}" dt="2025-03-05T17:02:09.961" v="5726" actId="1076"/>
          <ac:spMkLst>
            <pc:docMk/>
            <pc:sldMk cId="2323059358" sldId="8181"/>
            <ac:spMk id="41" creationId="{B00F6BAD-4BDD-3F95-3887-1B55B3223806}"/>
          </ac:spMkLst>
        </pc:spChg>
        <pc:spChg chg="add mod topLvl">
          <ac:chgData name="CISNEROS ROJAS, CAMILA GEORGINA" userId="c56cbc2a-55cd-4a0d-b56e-a0bfe880dc94" providerId="ADAL" clId="{BF859A91-FA63-4DC9-AD14-A4569BDBEE57}" dt="2025-03-05T16:56:17.319" v="5248" actId="1076"/>
          <ac:spMkLst>
            <pc:docMk/>
            <pc:sldMk cId="2323059358" sldId="8181"/>
            <ac:spMk id="42" creationId="{161D021E-80B7-DBFA-5CE6-E7799968D910}"/>
          </ac:spMkLst>
        </pc:spChg>
        <pc:spChg chg="add mod topLvl">
          <ac:chgData name="CISNEROS ROJAS, CAMILA GEORGINA" userId="c56cbc2a-55cd-4a0d-b56e-a0bfe880dc94" providerId="ADAL" clId="{BF859A91-FA63-4DC9-AD14-A4569BDBEE57}" dt="2025-03-05T16:56:17.319" v="5248" actId="1076"/>
          <ac:spMkLst>
            <pc:docMk/>
            <pc:sldMk cId="2323059358" sldId="8181"/>
            <ac:spMk id="43" creationId="{50DA2DF3-DCF1-FDD9-FC55-0407BA67823D}"/>
          </ac:spMkLst>
        </pc:spChg>
        <pc:spChg chg="add mod topLvl">
          <ac:chgData name="CISNEROS ROJAS, CAMILA GEORGINA" userId="c56cbc2a-55cd-4a0d-b56e-a0bfe880dc94" providerId="ADAL" clId="{BF859A91-FA63-4DC9-AD14-A4569BDBEE57}" dt="2025-03-05T16:56:17.319" v="5248" actId="1076"/>
          <ac:spMkLst>
            <pc:docMk/>
            <pc:sldMk cId="2323059358" sldId="8181"/>
            <ac:spMk id="44" creationId="{42FF5E0F-1E82-B682-8C54-4BE9C52F723A}"/>
          </ac:spMkLst>
        </pc:spChg>
        <pc:spChg chg="add mod topLvl">
          <ac:chgData name="CISNEROS ROJAS, CAMILA GEORGINA" userId="c56cbc2a-55cd-4a0d-b56e-a0bfe880dc94" providerId="ADAL" clId="{BF859A91-FA63-4DC9-AD14-A4569BDBEE57}" dt="2025-03-05T17:01:06.128" v="5718" actId="404"/>
          <ac:spMkLst>
            <pc:docMk/>
            <pc:sldMk cId="2323059358" sldId="8181"/>
            <ac:spMk id="45" creationId="{A9F99E80-F0BF-EF5C-E73D-00C02C8659C8}"/>
          </ac:spMkLst>
        </pc:spChg>
        <pc:spChg chg="add mod topLvl">
          <ac:chgData name="CISNEROS ROJAS, CAMILA GEORGINA" userId="c56cbc2a-55cd-4a0d-b56e-a0bfe880dc94" providerId="ADAL" clId="{BF859A91-FA63-4DC9-AD14-A4569BDBEE57}" dt="2025-03-05T17:01:21.540" v="5720" actId="255"/>
          <ac:spMkLst>
            <pc:docMk/>
            <pc:sldMk cId="2323059358" sldId="8181"/>
            <ac:spMk id="46" creationId="{A1334BED-F4E7-8342-EEA1-AAE667CD6E50}"/>
          </ac:spMkLst>
        </pc:spChg>
        <pc:spChg chg="add mod topLvl">
          <ac:chgData name="CISNEROS ROJAS, CAMILA GEORGINA" userId="c56cbc2a-55cd-4a0d-b56e-a0bfe880dc94" providerId="ADAL" clId="{BF859A91-FA63-4DC9-AD14-A4569BDBEE57}" dt="2025-03-05T17:01:06.128" v="5718" actId="404"/>
          <ac:spMkLst>
            <pc:docMk/>
            <pc:sldMk cId="2323059358" sldId="8181"/>
            <ac:spMk id="47" creationId="{E142CEAB-F58F-01C4-E6C7-1420E650E404}"/>
          </ac:spMkLst>
        </pc:spChg>
        <pc:spChg chg="add mod topLvl">
          <ac:chgData name="CISNEROS ROJAS, CAMILA GEORGINA" userId="c56cbc2a-55cd-4a0d-b56e-a0bfe880dc94" providerId="ADAL" clId="{BF859A91-FA63-4DC9-AD14-A4569BDBEE57}" dt="2025-03-05T17:01:16.568" v="5719" actId="255"/>
          <ac:spMkLst>
            <pc:docMk/>
            <pc:sldMk cId="2323059358" sldId="8181"/>
            <ac:spMk id="48" creationId="{A570B3FD-E320-D69A-4CBB-6B4F0BF0E66C}"/>
          </ac:spMkLst>
        </pc:spChg>
        <pc:spChg chg="add mod topLvl">
          <ac:chgData name="CISNEROS ROJAS, CAMILA GEORGINA" userId="c56cbc2a-55cd-4a0d-b56e-a0bfe880dc94" providerId="ADAL" clId="{BF859A91-FA63-4DC9-AD14-A4569BDBEE57}" dt="2025-03-05T17:01:54.739" v="5723" actId="1076"/>
          <ac:spMkLst>
            <pc:docMk/>
            <pc:sldMk cId="2323059358" sldId="8181"/>
            <ac:spMk id="49" creationId="{40ED472B-A9A5-E1CC-E36C-A3AB05941E83}"/>
          </ac:spMkLst>
        </pc:spChg>
        <pc:spChg chg="add mod topLvl">
          <ac:chgData name="CISNEROS ROJAS, CAMILA GEORGINA" userId="c56cbc2a-55cd-4a0d-b56e-a0bfe880dc94" providerId="ADAL" clId="{BF859A91-FA63-4DC9-AD14-A4569BDBEE57}" dt="2025-03-05T17:01:57.707" v="5724" actId="1076"/>
          <ac:spMkLst>
            <pc:docMk/>
            <pc:sldMk cId="2323059358" sldId="8181"/>
            <ac:spMk id="50" creationId="{D7E65326-B6E2-221A-A18D-812BD64789DD}"/>
          </ac:spMkLst>
        </pc:spChg>
        <pc:spChg chg="add mod topLvl">
          <ac:chgData name="CISNEROS ROJAS, CAMILA GEORGINA" userId="c56cbc2a-55cd-4a0d-b56e-a0bfe880dc94" providerId="ADAL" clId="{BF859A91-FA63-4DC9-AD14-A4569BDBEE57}" dt="2025-03-05T17:02:09.961" v="5726" actId="1076"/>
          <ac:spMkLst>
            <pc:docMk/>
            <pc:sldMk cId="2323059358" sldId="8181"/>
            <ac:spMk id="51" creationId="{DC2FFAD2-C0F2-F425-A88F-83D2EF5D7F3E}"/>
          </ac:spMkLst>
        </pc:spChg>
        <pc:spChg chg="add mod topLvl">
          <ac:chgData name="CISNEROS ROJAS, CAMILA GEORGINA" userId="c56cbc2a-55cd-4a0d-b56e-a0bfe880dc94" providerId="ADAL" clId="{BF859A91-FA63-4DC9-AD14-A4569BDBEE57}" dt="2025-03-05T17:02:09.961" v="5726" actId="1076"/>
          <ac:spMkLst>
            <pc:docMk/>
            <pc:sldMk cId="2323059358" sldId="8181"/>
            <ac:spMk id="52" creationId="{E6D99897-CCDE-C809-DCA7-DD634C76D044}"/>
          </ac:spMkLst>
        </pc:spChg>
        <pc:spChg chg="add mod topLvl">
          <ac:chgData name="CISNEROS ROJAS, CAMILA GEORGINA" userId="c56cbc2a-55cd-4a0d-b56e-a0bfe880dc94" providerId="ADAL" clId="{BF859A91-FA63-4DC9-AD14-A4569BDBEE57}" dt="2025-03-05T17:01:06.128" v="5718" actId="404"/>
          <ac:spMkLst>
            <pc:docMk/>
            <pc:sldMk cId="2323059358" sldId="8181"/>
            <ac:spMk id="53" creationId="{819B32CF-9F27-EEAF-2442-6D60BC98E124}"/>
          </ac:spMkLst>
        </pc:spChg>
        <pc:spChg chg="add mod topLvl">
          <ac:chgData name="CISNEROS ROJAS, CAMILA GEORGINA" userId="c56cbc2a-55cd-4a0d-b56e-a0bfe880dc94" providerId="ADAL" clId="{BF859A91-FA63-4DC9-AD14-A4569BDBEE57}" dt="2025-03-05T17:01:06.128" v="5718" actId="404"/>
          <ac:spMkLst>
            <pc:docMk/>
            <pc:sldMk cId="2323059358" sldId="8181"/>
            <ac:spMk id="54" creationId="{DF209B15-05EF-4439-9CD1-F5DD5C04E618}"/>
          </ac:spMkLst>
        </pc:spChg>
        <pc:spChg chg="add mod topLvl">
          <ac:chgData name="CISNEROS ROJAS, CAMILA GEORGINA" userId="c56cbc2a-55cd-4a0d-b56e-a0bfe880dc94" providerId="ADAL" clId="{BF859A91-FA63-4DC9-AD14-A4569BDBEE57}" dt="2025-03-05T17:01:06.128" v="5718" actId="404"/>
          <ac:spMkLst>
            <pc:docMk/>
            <pc:sldMk cId="2323059358" sldId="8181"/>
            <ac:spMk id="55" creationId="{17D66040-BA29-9B18-B9DB-4CDC1FE2445A}"/>
          </ac:spMkLst>
        </pc:spChg>
        <pc:spChg chg="add mod topLvl">
          <ac:chgData name="CISNEROS ROJAS, CAMILA GEORGINA" userId="c56cbc2a-55cd-4a0d-b56e-a0bfe880dc94" providerId="ADAL" clId="{BF859A91-FA63-4DC9-AD14-A4569BDBEE57}" dt="2025-03-05T17:02:09.961" v="5726" actId="1076"/>
          <ac:spMkLst>
            <pc:docMk/>
            <pc:sldMk cId="2323059358" sldId="8181"/>
            <ac:spMk id="56" creationId="{02770A1C-5761-D32E-2D9C-18AC8248274C}"/>
          </ac:spMkLst>
        </pc:spChg>
        <pc:spChg chg="add del mod topLvl">
          <ac:chgData name="CISNEROS ROJAS, CAMILA GEORGINA" userId="c56cbc2a-55cd-4a0d-b56e-a0bfe880dc94" providerId="ADAL" clId="{BF859A91-FA63-4DC9-AD14-A4569BDBEE57}" dt="2025-03-05T16:55:29.130" v="5239" actId="478"/>
          <ac:spMkLst>
            <pc:docMk/>
            <pc:sldMk cId="2323059358" sldId="8181"/>
            <ac:spMk id="57" creationId="{61BF7CDF-BFC0-7CBE-7730-ADBF771AB980}"/>
          </ac:spMkLst>
        </pc:spChg>
        <pc:spChg chg="add del mod topLvl">
          <ac:chgData name="CISNEROS ROJAS, CAMILA GEORGINA" userId="c56cbc2a-55cd-4a0d-b56e-a0bfe880dc94" providerId="ADAL" clId="{BF859A91-FA63-4DC9-AD14-A4569BDBEE57}" dt="2025-03-05T16:55:35.479" v="5241" actId="478"/>
          <ac:spMkLst>
            <pc:docMk/>
            <pc:sldMk cId="2323059358" sldId="8181"/>
            <ac:spMk id="58" creationId="{F2DFF941-D521-391B-7210-96E7DAE8FEC7}"/>
          </ac:spMkLst>
        </pc:spChg>
        <pc:spChg chg="add del mod topLvl">
          <ac:chgData name="CISNEROS ROJAS, CAMILA GEORGINA" userId="c56cbc2a-55cd-4a0d-b56e-a0bfe880dc94" providerId="ADAL" clId="{BF859A91-FA63-4DC9-AD14-A4569BDBEE57}" dt="2025-03-05T16:55:35.479" v="5241" actId="478"/>
          <ac:spMkLst>
            <pc:docMk/>
            <pc:sldMk cId="2323059358" sldId="8181"/>
            <ac:spMk id="59" creationId="{8176FD37-1162-329C-7712-2A7ABAB8549B}"/>
          </ac:spMkLst>
        </pc:spChg>
        <pc:spChg chg="add del mod topLvl">
          <ac:chgData name="CISNEROS ROJAS, CAMILA GEORGINA" userId="c56cbc2a-55cd-4a0d-b56e-a0bfe880dc94" providerId="ADAL" clId="{BF859A91-FA63-4DC9-AD14-A4569BDBEE57}" dt="2025-03-05T16:55:31.091" v="5240" actId="478"/>
          <ac:spMkLst>
            <pc:docMk/>
            <pc:sldMk cId="2323059358" sldId="8181"/>
            <ac:spMk id="60" creationId="{27D3FA85-0159-CAEF-F33D-7967DC7475CD}"/>
          </ac:spMkLst>
        </pc:spChg>
        <pc:grpChg chg="add del mod topLvl">
          <ac:chgData name="CISNEROS ROJAS, CAMILA GEORGINA" userId="c56cbc2a-55cd-4a0d-b56e-a0bfe880dc94" providerId="ADAL" clId="{BF859A91-FA63-4DC9-AD14-A4569BDBEE57}" dt="2025-03-05T16:54:45.698" v="5229" actId="478"/>
          <ac:grpSpMkLst>
            <pc:docMk/>
            <pc:sldMk cId="2323059358" sldId="8181"/>
            <ac:grpSpMk id="7" creationId="{B8B81B95-2AD5-41E1-7907-B99FF6FB858C}"/>
          </ac:grpSpMkLst>
        </pc:grpChg>
        <pc:grpChg chg="add del mod topLvl">
          <ac:chgData name="CISNEROS ROJAS, CAMILA GEORGINA" userId="c56cbc2a-55cd-4a0d-b56e-a0bfe880dc94" providerId="ADAL" clId="{BF859A91-FA63-4DC9-AD14-A4569BDBEE57}" dt="2025-03-05T16:54:45.698" v="5229" actId="478"/>
          <ac:grpSpMkLst>
            <pc:docMk/>
            <pc:sldMk cId="2323059358" sldId="8181"/>
            <ac:grpSpMk id="12" creationId="{F7D52861-4C69-9B52-5BAD-B46880167E39}"/>
          </ac:grpSpMkLst>
        </pc:grpChg>
        <pc:grpChg chg="add del mod">
          <ac:chgData name="CISNEROS ROJAS, CAMILA GEORGINA" userId="c56cbc2a-55cd-4a0d-b56e-a0bfe880dc94" providerId="ADAL" clId="{BF859A91-FA63-4DC9-AD14-A4569BDBEE57}" dt="2025-03-05T16:52:43.387" v="5144" actId="165"/>
          <ac:grpSpMkLst>
            <pc:docMk/>
            <pc:sldMk cId="2323059358" sldId="8181"/>
            <ac:grpSpMk id="26" creationId="{57C1A5B2-2A4B-788F-4727-26CCA39F12E8}"/>
          </ac:grpSpMkLst>
        </pc:grpChg>
        <pc:grpChg chg="add del mod">
          <ac:chgData name="CISNEROS ROJAS, CAMILA GEORGINA" userId="c56cbc2a-55cd-4a0d-b56e-a0bfe880dc94" providerId="ADAL" clId="{BF859A91-FA63-4DC9-AD14-A4569BDBEE57}" dt="2025-03-05T16:54:45.698" v="5229" actId="478"/>
          <ac:grpSpMkLst>
            <pc:docMk/>
            <pc:sldMk cId="2323059358" sldId="8181"/>
            <ac:grpSpMk id="27" creationId="{ECFED6D8-BAEC-91A0-0AF8-9D7454593AF7}"/>
          </ac:grpSpMkLst>
        </pc:grpChg>
        <pc:grpChg chg="add del mod">
          <ac:chgData name="CISNEROS ROJAS, CAMILA GEORGINA" userId="c56cbc2a-55cd-4a0d-b56e-a0bfe880dc94" providerId="ADAL" clId="{BF859A91-FA63-4DC9-AD14-A4569BDBEE57}" dt="2025-03-05T16:55:23.586" v="5238" actId="165"/>
          <ac:grpSpMkLst>
            <pc:docMk/>
            <pc:sldMk cId="2323059358" sldId="8181"/>
            <ac:grpSpMk id="61" creationId="{0B1241BA-D7FA-B99B-AD76-7D67A3C34432}"/>
          </ac:grpSpMkLst>
        </pc:grpChg>
      </pc:sldChg>
      <pc:sldChg chg="addSp delSp modSp new mod ord">
        <pc:chgData name="CISNEROS ROJAS, CAMILA GEORGINA" userId="c56cbc2a-55cd-4a0d-b56e-a0bfe880dc94" providerId="ADAL" clId="{BF859A91-FA63-4DC9-AD14-A4569BDBEE57}" dt="2025-03-06T14:32:20.692" v="15177" actId="1076"/>
        <pc:sldMkLst>
          <pc:docMk/>
          <pc:sldMk cId="3564897340" sldId="8182"/>
        </pc:sldMkLst>
        <pc:spChg chg="mod">
          <ac:chgData name="CISNEROS ROJAS, CAMILA GEORGINA" userId="c56cbc2a-55cd-4a0d-b56e-a0bfe880dc94" providerId="ADAL" clId="{BF859A91-FA63-4DC9-AD14-A4569BDBEE57}" dt="2025-03-05T17:12:35.393" v="6343"/>
          <ac:spMkLst>
            <pc:docMk/>
            <pc:sldMk cId="3564897340" sldId="8182"/>
            <ac:spMk id="2" creationId="{FAE63676-67E8-0FFD-C98D-B27C6120F3B6}"/>
          </ac:spMkLst>
        </pc:spChg>
        <pc:spChg chg="add del mod topLvl">
          <ac:chgData name="CISNEROS ROJAS, CAMILA GEORGINA" userId="c56cbc2a-55cd-4a0d-b56e-a0bfe880dc94" providerId="ADAL" clId="{BF859A91-FA63-4DC9-AD14-A4569BDBEE57}" dt="2025-03-06T14:30:07.849" v="15139" actId="478"/>
          <ac:spMkLst>
            <pc:docMk/>
            <pc:sldMk cId="3564897340" sldId="8182"/>
            <ac:spMk id="4" creationId="{83014479-A149-649E-AE50-8F49637D40DD}"/>
          </ac:spMkLst>
        </pc:spChg>
        <pc:spChg chg="add del mod topLvl">
          <ac:chgData name="CISNEROS ROJAS, CAMILA GEORGINA" userId="c56cbc2a-55cd-4a0d-b56e-a0bfe880dc94" providerId="ADAL" clId="{BF859A91-FA63-4DC9-AD14-A4569BDBEE57}" dt="2025-03-06T14:30:10.212" v="15142" actId="478"/>
          <ac:spMkLst>
            <pc:docMk/>
            <pc:sldMk cId="3564897340" sldId="8182"/>
            <ac:spMk id="5" creationId="{4BFD8825-890C-E5B8-40FB-F4E59580CA17}"/>
          </ac:spMkLst>
        </pc:spChg>
        <pc:spChg chg="add del mod topLvl">
          <ac:chgData name="CISNEROS ROJAS, CAMILA GEORGINA" userId="c56cbc2a-55cd-4a0d-b56e-a0bfe880dc94" providerId="ADAL" clId="{BF859A91-FA63-4DC9-AD14-A4569BDBEE57}" dt="2025-03-06T14:30:09.647" v="15141" actId="478"/>
          <ac:spMkLst>
            <pc:docMk/>
            <pc:sldMk cId="3564897340" sldId="8182"/>
            <ac:spMk id="6" creationId="{972077E6-71E1-93A1-027F-13252E42EDE0}"/>
          </ac:spMkLst>
        </pc:spChg>
        <pc:spChg chg="add del mod topLvl">
          <ac:chgData name="CISNEROS ROJAS, CAMILA GEORGINA" userId="c56cbc2a-55cd-4a0d-b56e-a0bfe880dc94" providerId="ADAL" clId="{BF859A91-FA63-4DC9-AD14-A4569BDBEE57}" dt="2025-03-05T17:11:47.940" v="6329" actId="478"/>
          <ac:spMkLst>
            <pc:docMk/>
            <pc:sldMk cId="3564897340" sldId="8182"/>
            <ac:spMk id="7" creationId="{D69DD200-6F22-6C56-3ADF-7C70C48EA005}"/>
          </ac:spMkLst>
        </pc:spChg>
        <pc:spChg chg="add del mod topLvl">
          <ac:chgData name="CISNEROS ROJAS, CAMILA GEORGINA" userId="c56cbc2a-55cd-4a0d-b56e-a0bfe880dc94" providerId="ADAL" clId="{BF859A91-FA63-4DC9-AD14-A4569BDBEE57}" dt="2025-03-05T17:11:47.448" v="6328" actId="478"/>
          <ac:spMkLst>
            <pc:docMk/>
            <pc:sldMk cId="3564897340" sldId="8182"/>
            <ac:spMk id="8" creationId="{74FC6E07-A582-0F88-4646-7C2417D0F527}"/>
          </ac:spMkLst>
        </pc:spChg>
        <pc:spChg chg="add mod topLvl">
          <ac:chgData name="CISNEROS ROJAS, CAMILA GEORGINA" userId="c56cbc2a-55cd-4a0d-b56e-a0bfe880dc94" providerId="ADAL" clId="{BF859A91-FA63-4DC9-AD14-A4569BDBEE57}" dt="2025-03-06T14:32:10.044" v="15176" actId="1076"/>
          <ac:spMkLst>
            <pc:docMk/>
            <pc:sldMk cId="3564897340" sldId="8182"/>
            <ac:spMk id="9" creationId="{D0285C15-B11D-0328-8530-18C7F94F9A17}"/>
          </ac:spMkLst>
        </pc:spChg>
        <pc:spChg chg="add mod topLvl">
          <ac:chgData name="CISNEROS ROJAS, CAMILA GEORGINA" userId="c56cbc2a-55cd-4a0d-b56e-a0bfe880dc94" providerId="ADAL" clId="{BF859A91-FA63-4DC9-AD14-A4569BDBEE57}" dt="2025-03-06T14:32:10.044" v="15176" actId="1076"/>
          <ac:spMkLst>
            <pc:docMk/>
            <pc:sldMk cId="3564897340" sldId="8182"/>
            <ac:spMk id="10" creationId="{E9D3EABA-1B72-96AA-A95F-3CF06E0E9984}"/>
          </ac:spMkLst>
        </pc:spChg>
        <pc:spChg chg="add mod topLvl">
          <ac:chgData name="CISNEROS ROJAS, CAMILA GEORGINA" userId="c56cbc2a-55cd-4a0d-b56e-a0bfe880dc94" providerId="ADAL" clId="{BF859A91-FA63-4DC9-AD14-A4569BDBEE57}" dt="2025-03-06T14:32:10.044" v="15176" actId="1076"/>
          <ac:spMkLst>
            <pc:docMk/>
            <pc:sldMk cId="3564897340" sldId="8182"/>
            <ac:spMk id="11" creationId="{DE87869E-F5FB-5808-60E7-27C4B56AD40D}"/>
          </ac:spMkLst>
        </pc:spChg>
        <pc:spChg chg="add del mod topLvl">
          <ac:chgData name="CISNEROS ROJAS, CAMILA GEORGINA" userId="c56cbc2a-55cd-4a0d-b56e-a0bfe880dc94" providerId="ADAL" clId="{BF859A91-FA63-4DC9-AD14-A4569BDBEE57}" dt="2025-03-05T17:11:46.336" v="6327" actId="478"/>
          <ac:spMkLst>
            <pc:docMk/>
            <pc:sldMk cId="3564897340" sldId="8182"/>
            <ac:spMk id="12" creationId="{6803CD3D-FE83-EADA-9F59-6DFCDA3BB1DB}"/>
          </ac:spMkLst>
        </pc:spChg>
        <pc:spChg chg="add del mod topLvl">
          <ac:chgData name="CISNEROS ROJAS, CAMILA GEORGINA" userId="c56cbc2a-55cd-4a0d-b56e-a0bfe880dc94" providerId="ADAL" clId="{BF859A91-FA63-4DC9-AD14-A4569BDBEE57}" dt="2025-03-05T17:11:45.830" v="6326" actId="478"/>
          <ac:spMkLst>
            <pc:docMk/>
            <pc:sldMk cId="3564897340" sldId="8182"/>
            <ac:spMk id="13" creationId="{DABAB8AD-70A4-37E7-D497-EAACF56ABAE6}"/>
          </ac:spMkLst>
        </pc:spChg>
        <pc:spChg chg="add mod topLvl">
          <ac:chgData name="CISNEROS ROJAS, CAMILA GEORGINA" userId="c56cbc2a-55cd-4a0d-b56e-a0bfe880dc94" providerId="ADAL" clId="{BF859A91-FA63-4DC9-AD14-A4569BDBEE57}" dt="2025-03-06T14:32:10.044" v="15176" actId="1076"/>
          <ac:spMkLst>
            <pc:docMk/>
            <pc:sldMk cId="3564897340" sldId="8182"/>
            <ac:spMk id="14" creationId="{3F8CADE9-1062-0842-770A-F9703DF619FF}"/>
          </ac:spMkLst>
        </pc:spChg>
        <pc:spChg chg="add mod topLvl">
          <ac:chgData name="CISNEROS ROJAS, CAMILA GEORGINA" userId="c56cbc2a-55cd-4a0d-b56e-a0bfe880dc94" providerId="ADAL" clId="{BF859A91-FA63-4DC9-AD14-A4569BDBEE57}" dt="2025-03-06T14:32:20.692" v="15177" actId="1076"/>
          <ac:spMkLst>
            <pc:docMk/>
            <pc:sldMk cId="3564897340" sldId="8182"/>
            <ac:spMk id="15" creationId="{33CCECC0-A548-33FB-F063-AD44D59EAB3E}"/>
          </ac:spMkLst>
        </pc:spChg>
        <pc:spChg chg="add mod topLvl">
          <ac:chgData name="CISNEROS ROJAS, CAMILA GEORGINA" userId="c56cbc2a-55cd-4a0d-b56e-a0bfe880dc94" providerId="ADAL" clId="{BF859A91-FA63-4DC9-AD14-A4569BDBEE57}" dt="2025-03-06T14:32:20.692" v="15177" actId="1076"/>
          <ac:spMkLst>
            <pc:docMk/>
            <pc:sldMk cId="3564897340" sldId="8182"/>
            <ac:spMk id="16" creationId="{C8E2B4BB-3573-6797-AD5A-AC6972D09C07}"/>
          </ac:spMkLst>
        </pc:spChg>
        <pc:spChg chg="add del mod topLvl">
          <ac:chgData name="CISNEROS ROJAS, CAMILA GEORGINA" userId="c56cbc2a-55cd-4a0d-b56e-a0bfe880dc94" providerId="ADAL" clId="{BF859A91-FA63-4DC9-AD14-A4569BDBEE57}" dt="2025-03-05T17:11:57.620" v="6334" actId="478"/>
          <ac:spMkLst>
            <pc:docMk/>
            <pc:sldMk cId="3564897340" sldId="8182"/>
            <ac:spMk id="17" creationId="{967B3574-DFBE-7A17-5114-10557A6E6C94}"/>
          </ac:spMkLst>
        </pc:spChg>
        <pc:spChg chg="add del mod topLvl">
          <ac:chgData name="CISNEROS ROJAS, CAMILA GEORGINA" userId="c56cbc2a-55cd-4a0d-b56e-a0bfe880dc94" providerId="ADAL" clId="{BF859A91-FA63-4DC9-AD14-A4569BDBEE57}" dt="2025-03-05T17:11:45.100" v="6325" actId="478"/>
          <ac:spMkLst>
            <pc:docMk/>
            <pc:sldMk cId="3564897340" sldId="8182"/>
            <ac:spMk id="18" creationId="{28E292E1-294E-C2D7-FD53-2151DB258A3C}"/>
          </ac:spMkLst>
        </pc:spChg>
        <pc:spChg chg="add del mod topLvl">
          <ac:chgData name="CISNEROS ROJAS, CAMILA GEORGINA" userId="c56cbc2a-55cd-4a0d-b56e-a0bfe880dc94" providerId="ADAL" clId="{BF859A91-FA63-4DC9-AD14-A4569BDBEE57}" dt="2025-03-06T14:32:10.044" v="15176" actId="1076"/>
          <ac:spMkLst>
            <pc:docMk/>
            <pc:sldMk cId="3564897340" sldId="8182"/>
            <ac:spMk id="19" creationId="{0125495A-CC6A-17D7-D145-DDB59DA32CCF}"/>
          </ac:spMkLst>
        </pc:spChg>
        <pc:spChg chg="add mod topLvl">
          <ac:chgData name="CISNEROS ROJAS, CAMILA GEORGINA" userId="c56cbc2a-55cd-4a0d-b56e-a0bfe880dc94" providerId="ADAL" clId="{BF859A91-FA63-4DC9-AD14-A4569BDBEE57}" dt="2025-03-06T14:32:10.044" v="15176" actId="1076"/>
          <ac:spMkLst>
            <pc:docMk/>
            <pc:sldMk cId="3564897340" sldId="8182"/>
            <ac:spMk id="20" creationId="{1B347BEA-F502-091B-A2F9-53D20C0A3DC3}"/>
          </ac:spMkLst>
        </pc:spChg>
        <pc:spChg chg="add mod topLvl">
          <ac:chgData name="CISNEROS ROJAS, CAMILA GEORGINA" userId="c56cbc2a-55cd-4a0d-b56e-a0bfe880dc94" providerId="ADAL" clId="{BF859A91-FA63-4DC9-AD14-A4569BDBEE57}" dt="2025-03-06T14:32:10.044" v="15176" actId="1076"/>
          <ac:spMkLst>
            <pc:docMk/>
            <pc:sldMk cId="3564897340" sldId="8182"/>
            <ac:spMk id="21" creationId="{D9D21DD1-CD3D-8356-A420-2847AF6DEA5D}"/>
          </ac:spMkLst>
        </pc:spChg>
        <pc:spChg chg="add del mod topLvl">
          <ac:chgData name="CISNEROS ROJAS, CAMILA GEORGINA" userId="c56cbc2a-55cd-4a0d-b56e-a0bfe880dc94" providerId="ADAL" clId="{BF859A91-FA63-4DC9-AD14-A4569BDBEE57}" dt="2025-03-05T17:11:49.435" v="6330" actId="478"/>
          <ac:spMkLst>
            <pc:docMk/>
            <pc:sldMk cId="3564897340" sldId="8182"/>
            <ac:spMk id="22" creationId="{01A268C0-3B9B-4513-B9F8-C06AC4C1CF67}"/>
          </ac:spMkLst>
        </pc:spChg>
        <pc:spChg chg="add del mod topLvl">
          <ac:chgData name="CISNEROS ROJAS, CAMILA GEORGINA" userId="c56cbc2a-55cd-4a0d-b56e-a0bfe880dc94" providerId="ADAL" clId="{BF859A91-FA63-4DC9-AD14-A4569BDBEE57}" dt="2025-03-05T17:11:43.076" v="6324" actId="478"/>
          <ac:spMkLst>
            <pc:docMk/>
            <pc:sldMk cId="3564897340" sldId="8182"/>
            <ac:spMk id="23" creationId="{AA283200-BF30-C231-8890-E3121D471343}"/>
          </ac:spMkLst>
        </pc:spChg>
        <pc:spChg chg="add del mod topLvl">
          <ac:chgData name="CISNEROS ROJAS, CAMILA GEORGINA" userId="c56cbc2a-55cd-4a0d-b56e-a0bfe880dc94" providerId="ADAL" clId="{BF859A91-FA63-4DC9-AD14-A4569BDBEE57}" dt="2025-03-06T14:30:09.087" v="15140" actId="478"/>
          <ac:spMkLst>
            <pc:docMk/>
            <pc:sldMk cId="3564897340" sldId="8182"/>
            <ac:spMk id="24" creationId="{16A7B511-2BFC-C244-4B68-2361AE16A4C0}"/>
          </ac:spMkLst>
        </pc:spChg>
        <pc:spChg chg="add mod topLvl">
          <ac:chgData name="CISNEROS ROJAS, CAMILA GEORGINA" userId="c56cbc2a-55cd-4a0d-b56e-a0bfe880dc94" providerId="ADAL" clId="{BF859A91-FA63-4DC9-AD14-A4569BDBEE57}" dt="2025-03-06T14:32:10.044" v="15176" actId="1076"/>
          <ac:spMkLst>
            <pc:docMk/>
            <pc:sldMk cId="3564897340" sldId="8182"/>
            <ac:spMk id="25" creationId="{5784C340-2606-F00D-98B6-E6158A38AFE6}"/>
          </ac:spMkLst>
        </pc:spChg>
        <pc:spChg chg="add mod topLvl">
          <ac:chgData name="CISNEROS ROJAS, CAMILA GEORGINA" userId="c56cbc2a-55cd-4a0d-b56e-a0bfe880dc94" providerId="ADAL" clId="{BF859A91-FA63-4DC9-AD14-A4569BDBEE57}" dt="2025-03-06T14:32:20.692" v="15177" actId="1076"/>
          <ac:spMkLst>
            <pc:docMk/>
            <pc:sldMk cId="3564897340" sldId="8182"/>
            <ac:spMk id="26" creationId="{950996EF-3742-FE9F-06FA-E0739F7B382F}"/>
          </ac:spMkLst>
        </pc:spChg>
        <pc:spChg chg="add del mod topLvl">
          <ac:chgData name="CISNEROS ROJAS, CAMILA GEORGINA" userId="c56cbc2a-55cd-4a0d-b56e-a0bfe880dc94" providerId="ADAL" clId="{BF859A91-FA63-4DC9-AD14-A4569BDBEE57}" dt="2025-03-05T17:08:00.105" v="5816" actId="478"/>
          <ac:spMkLst>
            <pc:docMk/>
            <pc:sldMk cId="3564897340" sldId="8182"/>
            <ac:spMk id="27" creationId="{EAE1E53A-53FF-9B86-F133-13842E28E049}"/>
          </ac:spMkLst>
        </pc:spChg>
        <pc:spChg chg="add del mod topLvl">
          <ac:chgData name="CISNEROS ROJAS, CAMILA GEORGINA" userId="c56cbc2a-55cd-4a0d-b56e-a0bfe880dc94" providerId="ADAL" clId="{BF859A91-FA63-4DC9-AD14-A4569BDBEE57}" dt="2025-03-06T14:30:11.717" v="15143" actId="478"/>
          <ac:spMkLst>
            <pc:docMk/>
            <pc:sldMk cId="3564897340" sldId="8182"/>
            <ac:spMk id="28" creationId="{A0AF72F3-72F7-CA6B-B482-2686A8E14C4E}"/>
          </ac:spMkLst>
        </pc:spChg>
        <pc:spChg chg="add del mod topLvl">
          <ac:chgData name="CISNEROS ROJAS, CAMILA GEORGINA" userId="c56cbc2a-55cd-4a0d-b56e-a0bfe880dc94" providerId="ADAL" clId="{BF859A91-FA63-4DC9-AD14-A4569BDBEE57}" dt="2025-03-05T17:06:43.416" v="5777" actId="478"/>
          <ac:spMkLst>
            <pc:docMk/>
            <pc:sldMk cId="3564897340" sldId="8182"/>
            <ac:spMk id="29" creationId="{E41E3B25-7508-4C3B-031C-E71ECA0DDA1E}"/>
          </ac:spMkLst>
        </pc:spChg>
        <pc:spChg chg="add del mod topLvl">
          <ac:chgData name="CISNEROS ROJAS, CAMILA GEORGINA" userId="c56cbc2a-55cd-4a0d-b56e-a0bfe880dc94" providerId="ADAL" clId="{BF859A91-FA63-4DC9-AD14-A4569BDBEE57}" dt="2025-03-05T17:07:57.935" v="5815" actId="478"/>
          <ac:spMkLst>
            <pc:docMk/>
            <pc:sldMk cId="3564897340" sldId="8182"/>
            <ac:spMk id="30" creationId="{25A28739-D539-ED3E-76AD-9F93E7EC5F84}"/>
          </ac:spMkLst>
        </pc:spChg>
        <pc:spChg chg="add del mod topLvl">
          <ac:chgData name="CISNEROS ROJAS, CAMILA GEORGINA" userId="c56cbc2a-55cd-4a0d-b56e-a0bfe880dc94" providerId="ADAL" clId="{BF859A91-FA63-4DC9-AD14-A4569BDBEE57}" dt="2025-03-05T17:07:56.561" v="5814" actId="478"/>
          <ac:spMkLst>
            <pc:docMk/>
            <pc:sldMk cId="3564897340" sldId="8182"/>
            <ac:spMk id="31" creationId="{25C159BF-DE62-6559-2DDE-27D1025408C5}"/>
          </ac:spMkLst>
        </pc:spChg>
        <pc:spChg chg="add del mod topLvl">
          <ac:chgData name="CISNEROS ROJAS, CAMILA GEORGINA" userId="c56cbc2a-55cd-4a0d-b56e-a0bfe880dc94" providerId="ADAL" clId="{BF859A91-FA63-4DC9-AD14-A4569BDBEE57}" dt="2025-03-05T17:05:38.240" v="5754" actId="478"/>
          <ac:spMkLst>
            <pc:docMk/>
            <pc:sldMk cId="3564897340" sldId="8182"/>
            <ac:spMk id="32" creationId="{BE7162B1-E09E-EE42-94CB-C029470FF104}"/>
          </ac:spMkLst>
        </pc:spChg>
        <pc:spChg chg="add del mod topLvl">
          <ac:chgData name="CISNEROS ROJAS, CAMILA GEORGINA" userId="c56cbc2a-55cd-4a0d-b56e-a0bfe880dc94" providerId="ADAL" clId="{BF859A91-FA63-4DC9-AD14-A4569BDBEE57}" dt="2025-03-05T17:05:47.594" v="5761" actId="478"/>
          <ac:spMkLst>
            <pc:docMk/>
            <pc:sldMk cId="3564897340" sldId="8182"/>
            <ac:spMk id="33" creationId="{4FAF4FB2-F6A8-05C5-6FF6-83EE4028BDC5}"/>
          </ac:spMkLst>
        </pc:spChg>
        <pc:spChg chg="add del mod topLvl">
          <ac:chgData name="CISNEROS ROJAS, CAMILA GEORGINA" userId="c56cbc2a-55cd-4a0d-b56e-a0bfe880dc94" providerId="ADAL" clId="{BF859A91-FA63-4DC9-AD14-A4569BDBEE57}" dt="2025-03-05T17:05:39.372" v="5755" actId="478"/>
          <ac:spMkLst>
            <pc:docMk/>
            <pc:sldMk cId="3564897340" sldId="8182"/>
            <ac:spMk id="34" creationId="{ECB788C6-47EE-FF44-6B11-7AA06837D1B5}"/>
          </ac:spMkLst>
        </pc:spChg>
        <pc:spChg chg="add del mod topLvl">
          <ac:chgData name="CISNEROS ROJAS, CAMILA GEORGINA" userId="c56cbc2a-55cd-4a0d-b56e-a0bfe880dc94" providerId="ADAL" clId="{BF859A91-FA63-4DC9-AD14-A4569BDBEE57}" dt="2025-03-05T17:05:40.695" v="5756" actId="478"/>
          <ac:spMkLst>
            <pc:docMk/>
            <pc:sldMk cId="3564897340" sldId="8182"/>
            <ac:spMk id="35" creationId="{18923ACD-89B9-7C7F-22B2-ECAD089B4763}"/>
          </ac:spMkLst>
        </pc:spChg>
        <pc:spChg chg="add del mod topLvl">
          <ac:chgData name="CISNEROS ROJAS, CAMILA GEORGINA" userId="c56cbc2a-55cd-4a0d-b56e-a0bfe880dc94" providerId="ADAL" clId="{BF859A91-FA63-4DC9-AD14-A4569BDBEE57}" dt="2025-03-05T17:05:41.939" v="5757" actId="478"/>
          <ac:spMkLst>
            <pc:docMk/>
            <pc:sldMk cId="3564897340" sldId="8182"/>
            <ac:spMk id="36" creationId="{9ABE7579-5BF9-2584-AEE6-F9CD3A5DBF17}"/>
          </ac:spMkLst>
        </pc:spChg>
        <pc:spChg chg="add del mod topLvl">
          <ac:chgData name="CISNEROS ROJAS, CAMILA GEORGINA" userId="c56cbc2a-55cd-4a0d-b56e-a0bfe880dc94" providerId="ADAL" clId="{BF859A91-FA63-4DC9-AD14-A4569BDBEE57}" dt="2025-03-05T17:05:43.548" v="5758" actId="478"/>
          <ac:spMkLst>
            <pc:docMk/>
            <pc:sldMk cId="3564897340" sldId="8182"/>
            <ac:spMk id="37" creationId="{07ABE0E7-45F7-9B1A-C058-6B1C23876738}"/>
          </ac:spMkLst>
        </pc:spChg>
        <pc:spChg chg="add del mod topLvl">
          <ac:chgData name="CISNEROS ROJAS, CAMILA GEORGINA" userId="c56cbc2a-55cd-4a0d-b56e-a0bfe880dc94" providerId="ADAL" clId="{BF859A91-FA63-4DC9-AD14-A4569BDBEE57}" dt="2025-03-05T17:05:44.512" v="5759" actId="478"/>
          <ac:spMkLst>
            <pc:docMk/>
            <pc:sldMk cId="3564897340" sldId="8182"/>
            <ac:spMk id="38" creationId="{F70C97DB-429D-8D1C-70D6-5017605B2B39}"/>
          </ac:spMkLst>
        </pc:spChg>
        <pc:spChg chg="add del mod topLvl">
          <ac:chgData name="CISNEROS ROJAS, CAMILA GEORGINA" userId="c56cbc2a-55cd-4a0d-b56e-a0bfe880dc94" providerId="ADAL" clId="{BF859A91-FA63-4DC9-AD14-A4569BDBEE57}" dt="2025-03-05T17:06:46.814" v="5779" actId="478"/>
          <ac:spMkLst>
            <pc:docMk/>
            <pc:sldMk cId="3564897340" sldId="8182"/>
            <ac:spMk id="39" creationId="{C95FFAD2-9B09-3969-8091-4B820A164445}"/>
          </ac:spMkLst>
        </pc:spChg>
        <pc:spChg chg="add del mod topLvl">
          <ac:chgData name="CISNEROS ROJAS, CAMILA GEORGINA" userId="c56cbc2a-55cd-4a0d-b56e-a0bfe880dc94" providerId="ADAL" clId="{BF859A91-FA63-4DC9-AD14-A4569BDBEE57}" dt="2025-03-05T17:06:49.775" v="5781" actId="478"/>
          <ac:spMkLst>
            <pc:docMk/>
            <pc:sldMk cId="3564897340" sldId="8182"/>
            <ac:spMk id="40" creationId="{9DCD0E28-D206-58D5-741B-CA543BC54925}"/>
          </ac:spMkLst>
        </pc:spChg>
        <pc:spChg chg="add del mod topLvl">
          <ac:chgData name="CISNEROS ROJAS, CAMILA GEORGINA" userId="c56cbc2a-55cd-4a0d-b56e-a0bfe880dc94" providerId="ADAL" clId="{BF859A91-FA63-4DC9-AD14-A4569BDBEE57}" dt="2025-03-05T17:06:44.938" v="5778" actId="478"/>
          <ac:spMkLst>
            <pc:docMk/>
            <pc:sldMk cId="3564897340" sldId="8182"/>
            <ac:spMk id="41" creationId="{2CF88787-CFAE-0146-33EB-A3D681389CB7}"/>
          </ac:spMkLst>
        </pc:spChg>
        <pc:spChg chg="add del mod topLvl">
          <ac:chgData name="CISNEROS ROJAS, CAMILA GEORGINA" userId="c56cbc2a-55cd-4a0d-b56e-a0bfe880dc94" providerId="ADAL" clId="{BF859A91-FA63-4DC9-AD14-A4569BDBEE57}" dt="2025-03-05T17:06:41.465" v="5776" actId="478"/>
          <ac:spMkLst>
            <pc:docMk/>
            <pc:sldMk cId="3564897340" sldId="8182"/>
            <ac:spMk id="42" creationId="{6FA3D9B3-F9E4-EEB3-EC60-EE7F1AEFC727}"/>
          </ac:spMkLst>
        </pc:spChg>
        <pc:spChg chg="add del mod topLvl">
          <ac:chgData name="CISNEROS ROJAS, CAMILA GEORGINA" userId="c56cbc2a-55cd-4a0d-b56e-a0bfe880dc94" providerId="ADAL" clId="{BF859A91-FA63-4DC9-AD14-A4569BDBEE57}" dt="2025-03-05T17:06:38.578" v="5773" actId="478"/>
          <ac:spMkLst>
            <pc:docMk/>
            <pc:sldMk cId="3564897340" sldId="8182"/>
            <ac:spMk id="43" creationId="{12DFDED5-67B3-7712-DB95-1ED8DAA84E4A}"/>
          </ac:spMkLst>
        </pc:spChg>
        <pc:spChg chg="add del mod topLvl">
          <ac:chgData name="CISNEROS ROJAS, CAMILA GEORGINA" userId="c56cbc2a-55cd-4a0d-b56e-a0bfe880dc94" providerId="ADAL" clId="{BF859A91-FA63-4DC9-AD14-A4569BDBEE57}" dt="2025-03-05T17:06:39.287" v="5774" actId="478"/>
          <ac:spMkLst>
            <pc:docMk/>
            <pc:sldMk cId="3564897340" sldId="8182"/>
            <ac:spMk id="44" creationId="{61182400-AC21-DCF0-3A1D-43F1AC8EC68D}"/>
          </ac:spMkLst>
        </pc:spChg>
        <pc:spChg chg="add del mod topLvl">
          <ac:chgData name="CISNEROS ROJAS, CAMILA GEORGINA" userId="c56cbc2a-55cd-4a0d-b56e-a0bfe880dc94" providerId="ADAL" clId="{BF859A91-FA63-4DC9-AD14-A4569BDBEE57}" dt="2025-03-05T17:06:40.358" v="5775" actId="478"/>
          <ac:spMkLst>
            <pc:docMk/>
            <pc:sldMk cId="3564897340" sldId="8182"/>
            <ac:spMk id="45" creationId="{4AFE2F63-9C35-3C24-2656-3DB67C4C2FA6}"/>
          </ac:spMkLst>
        </pc:spChg>
        <pc:spChg chg="add del mod topLvl">
          <ac:chgData name="CISNEROS ROJAS, CAMILA GEORGINA" userId="c56cbc2a-55cd-4a0d-b56e-a0bfe880dc94" providerId="ADAL" clId="{BF859A91-FA63-4DC9-AD14-A4569BDBEE57}" dt="2025-03-05T17:07:51.359" v="5812" actId="478"/>
          <ac:spMkLst>
            <pc:docMk/>
            <pc:sldMk cId="3564897340" sldId="8182"/>
            <ac:spMk id="46" creationId="{992960AF-225F-5C75-64CB-94B2823753EB}"/>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47" creationId="{D9F9239B-16EC-870A-E63B-1E67FBA2A63F}"/>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48" creationId="{45CF35AC-38E0-F06D-3EC3-AF9A1B5B474D}"/>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49" creationId="{40EA160A-895C-B248-EF1B-1B14A5C66032}"/>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0" creationId="{8AC08F8E-F239-FF06-1144-B8F679014D42}"/>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1" creationId="{F7E5A9C5-08AC-B297-9A82-CD35871B7245}"/>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2" creationId="{82509263-18D4-9025-B627-04E4C197D7C3}"/>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3" creationId="{7E6B2068-C16F-2BDC-A8D1-E6AE033FAADF}"/>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4" creationId="{F62F737F-EA0E-7C66-C502-C1347F029745}"/>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5" creationId="{B3984498-C1D9-D1D0-9DBF-E4D1DEC7A92A}"/>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6" creationId="{DFA439AE-4761-1659-F7B2-A37F18CE1C28}"/>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7" creationId="{3B32954E-D4B8-843D-6956-CD74AA65CBFC}"/>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8" creationId="{5F0E94D8-80A7-AF16-BE17-201AFB420DC7}"/>
          </ac:spMkLst>
        </pc:spChg>
        <pc:spChg chg="add del mod topLvl">
          <ac:chgData name="CISNEROS ROJAS, CAMILA GEORGINA" userId="c56cbc2a-55cd-4a0d-b56e-a0bfe880dc94" providerId="ADAL" clId="{BF859A91-FA63-4DC9-AD14-A4569BDBEE57}" dt="2025-03-05T17:07:55.295" v="5813" actId="478"/>
          <ac:spMkLst>
            <pc:docMk/>
            <pc:sldMk cId="3564897340" sldId="8182"/>
            <ac:spMk id="59" creationId="{C2CE69DE-787A-1996-2F5F-F1D0B22000D8}"/>
          </ac:spMkLst>
        </pc:spChg>
        <pc:spChg chg="add mod">
          <ac:chgData name="CISNEROS ROJAS, CAMILA GEORGINA" userId="c56cbc2a-55cd-4a0d-b56e-a0bfe880dc94" providerId="ADAL" clId="{BF859A91-FA63-4DC9-AD14-A4569BDBEE57}" dt="2025-03-06T14:32:10.044" v="15176" actId="1076"/>
          <ac:spMkLst>
            <pc:docMk/>
            <pc:sldMk cId="3564897340" sldId="8182"/>
            <ac:spMk id="61" creationId="{C0798644-15D5-29B9-91E7-6AC0E01364E7}"/>
          </ac:spMkLst>
        </pc:spChg>
        <pc:spChg chg="add mod">
          <ac:chgData name="CISNEROS ROJAS, CAMILA GEORGINA" userId="c56cbc2a-55cd-4a0d-b56e-a0bfe880dc94" providerId="ADAL" clId="{BF859A91-FA63-4DC9-AD14-A4569BDBEE57}" dt="2025-03-06T14:32:10.044" v="15176" actId="1076"/>
          <ac:spMkLst>
            <pc:docMk/>
            <pc:sldMk cId="3564897340" sldId="8182"/>
            <ac:spMk id="63" creationId="{19826B47-538D-D55A-CCBE-9E48527F63F6}"/>
          </ac:spMkLst>
        </pc:spChg>
        <pc:spChg chg="add mod">
          <ac:chgData name="CISNEROS ROJAS, CAMILA GEORGINA" userId="c56cbc2a-55cd-4a0d-b56e-a0bfe880dc94" providerId="ADAL" clId="{BF859A91-FA63-4DC9-AD14-A4569BDBEE57}" dt="2025-03-06T14:32:10.044" v="15176" actId="1076"/>
          <ac:spMkLst>
            <pc:docMk/>
            <pc:sldMk cId="3564897340" sldId="8182"/>
            <ac:spMk id="64" creationId="{F74CE63A-2D79-847D-8A0C-3DB25E81ECA6}"/>
          </ac:spMkLst>
        </pc:spChg>
        <pc:spChg chg="add mod">
          <ac:chgData name="CISNEROS ROJAS, CAMILA GEORGINA" userId="c56cbc2a-55cd-4a0d-b56e-a0bfe880dc94" providerId="ADAL" clId="{BF859A91-FA63-4DC9-AD14-A4569BDBEE57}" dt="2025-03-06T14:32:10.044" v="15176" actId="1076"/>
          <ac:spMkLst>
            <pc:docMk/>
            <pc:sldMk cId="3564897340" sldId="8182"/>
            <ac:spMk id="65" creationId="{7CA2A399-F6F0-D424-9BC2-490926A4DE32}"/>
          </ac:spMkLst>
        </pc:spChg>
        <pc:grpChg chg="add del mod">
          <ac:chgData name="CISNEROS ROJAS, CAMILA GEORGINA" userId="c56cbc2a-55cd-4a0d-b56e-a0bfe880dc94" providerId="ADAL" clId="{BF859A91-FA63-4DC9-AD14-A4569BDBEE57}" dt="2025-03-05T17:05:07.778" v="5745" actId="165"/>
          <ac:grpSpMkLst>
            <pc:docMk/>
            <pc:sldMk cId="3564897340" sldId="8182"/>
            <ac:grpSpMk id="60" creationId="{6D24086F-CF21-19AB-51B4-601FBB9B5067}"/>
          </ac:grpSpMkLst>
        </pc:grpChg>
        <pc:picChg chg="add del mod">
          <ac:chgData name="CISNEROS ROJAS, CAMILA GEORGINA" userId="c56cbc2a-55cd-4a0d-b56e-a0bfe880dc94" providerId="ADAL" clId="{BF859A91-FA63-4DC9-AD14-A4569BDBEE57}" dt="2025-03-05T17:04:29.600" v="5732" actId="478"/>
          <ac:picMkLst>
            <pc:docMk/>
            <pc:sldMk cId="3564897340" sldId="8182"/>
            <ac:picMk id="3" creationId="{DBC50B96-CA26-EE30-C686-117DA19B9F81}"/>
          </ac:picMkLst>
        </pc:picChg>
      </pc:sldChg>
      <pc:sldChg chg="addSp modSp new del mod ord">
        <pc:chgData name="CISNEROS ROJAS, CAMILA GEORGINA" userId="c56cbc2a-55cd-4a0d-b56e-a0bfe880dc94" providerId="ADAL" clId="{BF859A91-FA63-4DC9-AD14-A4569BDBEE57}" dt="2025-03-06T14:33:08.465" v="15178" actId="2696"/>
        <pc:sldMkLst>
          <pc:docMk/>
          <pc:sldMk cId="3766916017" sldId="8183"/>
        </pc:sldMkLst>
        <pc:spChg chg="mod">
          <ac:chgData name="CISNEROS ROJAS, CAMILA GEORGINA" userId="c56cbc2a-55cd-4a0d-b56e-a0bfe880dc94" providerId="ADAL" clId="{BF859A91-FA63-4DC9-AD14-A4569BDBEE57}" dt="2025-03-05T17:19:06.509" v="6399" actId="20577"/>
          <ac:spMkLst>
            <pc:docMk/>
            <pc:sldMk cId="3766916017" sldId="8183"/>
            <ac:spMk id="2" creationId="{3926B18B-3766-8598-75EA-C0FBC050608D}"/>
          </ac:spMkLst>
        </pc:spChg>
        <pc:spChg chg="add mod">
          <ac:chgData name="CISNEROS ROJAS, CAMILA GEORGINA" userId="c56cbc2a-55cd-4a0d-b56e-a0bfe880dc94" providerId="ADAL" clId="{BF859A91-FA63-4DC9-AD14-A4569BDBEE57}" dt="2025-03-05T18:24:43.571" v="7328" actId="1076"/>
          <ac:spMkLst>
            <pc:docMk/>
            <pc:sldMk cId="3766916017" sldId="8183"/>
            <ac:spMk id="3" creationId="{837E04B9-16F8-E1B4-AED6-370737BE235B}"/>
          </ac:spMkLst>
        </pc:spChg>
        <pc:spChg chg="add mod">
          <ac:chgData name="CISNEROS ROJAS, CAMILA GEORGINA" userId="c56cbc2a-55cd-4a0d-b56e-a0bfe880dc94" providerId="ADAL" clId="{BF859A91-FA63-4DC9-AD14-A4569BDBEE57}" dt="2025-03-06T13:43:04.184" v="14295" actId="123"/>
          <ac:spMkLst>
            <pc:docMk/>
            <pc:sldMk cId="3766916017" sldId="8183"/>
            <ac:spMk id="4" creationId="{776CBC94-82D9-309A-5F61-1B862F0DDE50}"/>
          </ac:spMkLst>
        </pc:spChg>
      </pc:sldChg>
      <pc:sldChg chg="addSp modSp new mod ord">
        <pc:chgData name="CISNEROS ROJAS, CAMILA GEORGINA" userId="c56cbc2a-55cd-4a0d-b56e-a0bfe880dc94" providerId="ADAL" clId="{BF859A91-FA63-4DC9-AD14-A4569BDBEE57}" dt="2025-03-06T14:35:40.772" v="15253" actId="20577"/>
        <pc:sldMkLst>
          <pc:docMk/>
          <pc:sldMk cId="1359036037" sldId="8184"/>
        </pc:sldMkLst>
        <pc:spChg chg="mod">
          <ac:chgData name="CISNEROS ROJAS, CAMILA GEORGINA" userId="c56cbc2a-55cd-4a0d-b56e-a0bfe880dc94" providerId="ADAL" clId="{BF859A91-FA63-4DC9-AD14-A4569BDBEE57}" dt="2025-03-06T14:35:20.794" v="15250" actId="20577"/>
          <ac:spMkLst>
            <pc:docMk/>
            <pc:sldMk cId="1359036037" sldId="8184"/>
            <ac:spMk id="2" creationId="{7D89E0A5-32BE-1818-AC5D-0198345C9C74}"/>
          </ac:spMkLst>
        </pc:spChg>
        <pc:spChg chg="add mod">
          <ac:chgData name="CISNEROS ROJAS, CAMILA GEORGINA" userId="c56cbc2a-55cd-4a0d-b56e-a0bfe880dc94" providerId="ADAL" clId="{BF859A91-FA63-4DC9-AD14-A4569BDBEE57}" dt="2025-03-06T14:35:40.772" v="15253" actId="20577"/>
          <ac:spMkLst>
            <pc:docMk/>
            <pc:sldMk cId="1359036037" sldId="8184"/>
            <ac:spMk id="3" creationId="{F053A1A1-9BF4-D184-46CE-0EC56ECEA2DF}"/>
          </ac:spMkLst>
        </pc:spChg>
        <pc:spChg chg="add mod">
          <ac:chgData name="CISNEROS ROJAS, CAMILA GEORGINA" userId="c56cbc2a-55cd-4a0d-b56e-a0bfe880dc94" providerId="ADAL" clId="{BF859A91-FA63-4DC9-AD14-A4569BDBEE57}" dt="2025-03-06T13:57:56.657" v="14533" actId="20577"/>
          <ac:spMkLst>
            <pc:docMk/>
            <pc:sldMk cId="1359036037" sldId="8184"/>
            <ac:spMk id="4" creationId="{AED8184A-70D8-A3AD-C31C-A79AB771B883}"/>
          </ac:spMkLst>
        </pc:spChg>
        <pc:spChg chg="add mod">
          <ac:chgData name="CISNEROS ROJAS, CAMILA GEORGINA" userId="c56cbc2a-55cd-4a0d-b56e-a0bfe880dc94" providerId="ADAL" clId="{BF859A91-FA63-4DC9-AD14-A4569BDBEE57}" dt="2025-03-05T18:45:00.303" v="8408" actId="20577"/>
          <ac:spMkLst>
            <pc:docMk/>
            <pc:sldMk cId="1359036037" sldId="8184"/>
            <ac:spMk id="5" creationId="{83307953-F00B-650E-B8BA-12C00DB0D162}"/>
          </ac:spMkLst>
        </pc:spChg>
        <pc:spChg chg="add mod">
          <ac:chgData name="CISNEROS ROJAS, CAMILA GEORGINA" userId="c56cbc2a-55cd-4a0d-b56e-a0bfe880dc94" providerId="ADAL" clId="{BF859A91-FA63-4DC9-AD14-A4569BDBEE57}" dt="2025-03-06T14:34:58.345" v="15245" actId="20577"/>
          <ac:spMkLst>
            <pc:docMk/>
            <pc:sldMk cId="1359036037" sldId="8184"/>
            <ac:spMk id="6" creationId="{BA3340C2-E760-FAAC-1F22-B905F0DD5EC6}"/>
          </ac:spMkLst>
        </pc:spChg>
      </pc:sldChg>
      <pc:sldChg chg="addSp delSp modSp new mod ord">
        <pc:chgData name="CISNEROS ROJAS, CAMILA GEORGINA" userId="c56cbc2a-55cd-4a0d-b56e-a0bfe880dc94" providerId="ADAL" clId="{BF859A91-FA63-4DC9-AD14-A4569BDBEE57}" dt="2025-03-06T15:33:29.266" v="16071" actId="14100"/>
        <pc:sldMkLst>
          <pc:docMk/>
          <pc:sldMk cId="3802081242" sldId="8185"/>
        </pc:sldMkLst>
        <pc:spChg chg="mod">
          <ac:chgData name="CISNEROS ROJAS, CAMILA GEORGINA" userId="c56cbc2a-55cd-4a0d-b56e-a0bfe880dc94" providerId="ADAL" clId="{BF859A91-FA63-4DC9-AD14-A4569BDBEE57}" dt="2025-03-05T19:38:17.655" v="9786" actId="20577"/>
          <ac:spMkLst>
            <pc:docMk/>
            <pc:sldMk cId="3802081242" sldId="8185"/>
            <ac:spMk id="2" creationId="{BB262E3A-6F6F-40E2-DB31-63C5CB7E15C1}"/>
          </ac:spMkLst>
        </pc:spChg>
        <pc:spChg chg="add mod">
          <ac:chgData name="CISNEROS ROJAS, CAMILA GEORGINA" userId="c56cbc2a-55cd-4a0d-b56e-a0bfe880dc94" providerId="ADAL" clId="{BF859A91-FA63-4DC9-AD14-A4569BDBEE57}" dt="2025-03-06T14:41:36.627" v="15280" actId="1076"/>
          <ac:spMkLst>
            <pc:docMk/>
            <pc:sldMk cId="3802081242" sldId="8185"/>
            <ac:spMk id="3" creationId="{74D0E0AE-B9B1-0BF8-EDF7-BF0CF913BEC6}"/>
          </ac:spMkLst>
        </pc:spChg>
        <pc:spChg chg="add mod">
          <ac:chgData name="CISNEROS ROJAS, CAMILA GEORGINA" userId="c56cbc2a-55cd-4a0d-b56e-a0bfe880dc94" providerId="ADAL" clId="{BF859A91-FA63-4DC9-AD14-A4569BDBEE57}" dt="2025-03-06T14:41:36.627" v="15280" actId="1076"/>
          <ac:spMkLst>
            <pc:docMk/>
            <pc:sldMk cId="3802081242" sldId="8185"/>
            <ac:spMk id="4" creationId="{F7399CCC-8D9E-5666-BDD5-40954C7E86F2}"/>
          </ac:spMkLst>
        </pc:spChg>
        <pc:spChg chg="add del mod">
          <ac:chgData name="CISNEROS ROJAS, CAMILA GEORGINA" userId="c56cbc2a-55cd-4a0d-b56e-a0bfe880dc94" providerId="ADAL" clId="{BF859A91-FA63-4DC9-AD14-A4569BDBEE57}" dt="2025-03-06T14:40:54.277" v="15263" actId="478"/>
          <ac:spMkLst>
            <pc:docMk/>
            <pc:sldMk cId="3802081242" sldId="8185"/>
            <ac:spMk id="5" creationId="{A330B775-78EB-4550-8E50-B7341EE6E42B}"/>
          </ac:spMkLst>
        </pc:spChg>
        <pc:spChg chg="add mod">
          <ac:chgData name="CISNEROS ROJAS, CAMILA GEORGINA" userId="c56cbc2a-55cd-4a0d-b56e-a0bfe880dc94" providerId="ADAL" clId="{BF859A91-FA63-4DC9-AD14-A4569BDBEE57}" dt="2025-03-06T15:33:29.266" v="16071" actId="14100"/>
          <ac:spMkLst>
            <pc:docMk/>
            <pc:sldMk cId="3802081242" sldId="8185"/>
            <ac:spMk id="7" creationId="{5A2937E8-AE9A-2DF2-876E-852954D160E4}"/>
          </ac:spMkLst>
        </pc:spChg>
        <pc:spChg chg="add mod">
          <ac:chgData name="CISNEROS ROJAS, CAMILA GEORGINA" userId="c56cbc2a-55cd-4a0d-b56e-a0bfe880dc94" providerId="ADAL" clId="{BF859A91-FA63-4DC9-AD14-A4569BDBEE57}" dt="2025-03-06T15:33:29.266" v="16071" actId="14100"/>
          <ac:spMkLst>
            <pc:docMk/>
            <pc:sldMk cId="3802081242" sldId="8185"/>
            <ac:spMk id="8" creationId="{75A152DB-4393-4059-FA07-7A67A3994EDD}"/>
          </ac:spMkLst>
        </pc:spChg>
        <pc:spChg chg="add mod">
          <ac:chgData name="CISNEROS ROJAS, CAMILA GEORGINA" userId="c56cbc2a-55cd-4a0d-b56e-a0bfe880dc94" providerId="ADAL" clId="{BF859A91-FA63-4DC9-AD14-A4569BDBEE57}" dt="2025-03-06T15:33:29.266" v="16071" actId="14100"/>
          <ac:spMkLst>
            <pc:docMk/>
            <pc:sldMk cId="3802081242" sldId="8185"/>
            <ac:spMk id="9" creationId="{F19DCDC9-C40A-936C-4FE0-1E08D69BD5EF}"/>
          </ac:spMkLst>
        </pc:spChg>
        <pc:spChg chg="add mod">
          <ac:chgData name="CISNEROS ROJAS, CAMILA GEORGINA" userId="c56cbc2a-55cd-4a0d-b56e-a0bfe880dc94" providerId="ADAL" clId="{BF859A91-FA63-4DC9-AD14-A4569BDBEE57}" dt="2025-03-06T15:33:29.266" v="16071" actId="14100"/>
          <ac:spMkLst>
            <pc:docMk/>
            <pc:sldMk cId="3802081242" sldId="8185"/>
            <ac:spMk id="10" creationId="{6D4279C8-0124-8A47-5D2E-3DA9C08CF045}"/>
          </ac:spMkLst>
        </pc:spChg>
        <pc:spChg chg="add mod">
          <ac:chgData name="CISNEROS ROJAS, CAMILA GEORGINA" userId="c56cbc2a-55cd-4a0d-b56e-a0bfe880dc94" providerId="ADAL" clId="{BF859A91-FA63-4DC9-AD14-A4569BDBEE57}" dt="2025-03-06T15:33:29.266" v="16071" actId="14100"/>
          <ac:spMkLst>
            <pc:docMk/>
            <pc:sldMk cId="3802081242" sldId="8185"/>
            <ac:spMk id="11" creationId="{B449445D-25E0-642D-EC4E-BA1082827A16}"/>
          </ac:spMkLst>
        </pc:spChg>
        <pc:spChg chg="add del mod">
          <ac:chgData name="CISNEROS ROJAS, CAMILA GEORGINA" userId="c56cbc2a-55cd-4a0d-b56e-a0bfe880dc94" providerId="ADAL" clId="{BF859A91-FA63-4DC9-AD14-A4569BDBEE57}" dt="2025-03-06T15:33:22.272" v="16070" actId="478"/>
          <ac:spMkLst>
            <pc:docMk/>
            <pc:sldMk cId="3802081242" sldId="8185"/>
            <ac:spMk id="12" creationId="{AA877A0F-643E-49D7-E6FF-902FDFF80F06}"/>
          </ac:spMkLst>
        </pc:spChg>
        <pc:picChg chg="add del mod">
          <ac:chgData name="CISNEROS ROJAS, CAMILA GEORGINA" userId="c56cbc2a-55cd-4a0d-b56e-a0bfe880dc94" providerId="ADAL" clId="{BF859A91-FA63-4DC9-AD14-A4569BDBEE57}" dt="2025-03-06T14:40:51.252" v="15261" actId="478"/>
          <ac:picMkLst>
            <pc:docMk/>
            <pc:sldMk cId="3802081242" sldId="8185"/>
            <ac:picMk id="6" creationId="{BC3B0B8D-EE9A-02D6-7B63-791FDF9ED532}"/>
          </ac:picMkLst>
        </pc:picChg>
        <pc:picChg chg="add mod">
          <ac:chgData name="CISNEROS ROJAS, CAMILA GEORGINA" userId="c56cbc2a-55cd-4a0d-b56e-a0bfe880dc94" providerId="ADAL" clId="{BF859A91-FA63-4DC9-AD14-A4569BDBEE57}" dt="2025-03-06T14:41:45.479" v="15282" actId="1038"/>
          <ac:picMkLst>
            <pc:docMk/>
            <pc:sldMk cId="3802081242" sldId="8185"/>
            <ac:picMk id="1026" creationId="{79F688E2-972B-6D6F-0B56-12954CDC5A18}"/>
          </ac:picMkLst>
        </pc:picChg>
      </pc:sldChg>
      <pc:sldChg chg="modSp add mod ord">
        <pc:chgData name="CISNEROS ROJAS, CAMILA GEORGINA" userId="c56cbc2a-55cd-4a0d-b56e-a0bfe880dc94" providerId="ADAL" clId="{BF859A91-FA63-4DC9-AD14-A4569BDBEE57}" dt="2025-03-06T14:56:19.242" v="15694"/>
        <pc:sldMkLst>
          <pc:docMk/>
          <pc:sldMk cId="3769763897" sldId="8186"/>
        </pc:sldMkLst>
        <pc:spChg chg="mod">
          <ac:chgData name="CISNEROS ROJAS, CAMILA GEORGINA" userId="c56cbc2a-55cd-4a0d-b56e-a0bfe880dc94" providerId="ADAL" clId="{BF859A91-FA63-4DC9-AD14-A4569BDBEE57}" dt="2025-03-05T19:19:26.973" v="9712" actId="20577"/>
          <ac:spMkLst>
            <pc:docMk/>
            <pc:sldMk cId="3769763897" sldId="8186"/>
            <ac:spMk id="2" creationId="{9E35DCEA-11FB-375E-BA08-3B2B59711278}"/>
          </ac:spMkLst>
        </pc:spChg>
      </pc:sldChg>
      <pc:sldChg chg="addSp delSp modSp add del mod ord">
        <pc:chgData name="CISNEROS ROJAS, CAMILA GEORGINA" userId="c56cbc2a-55cd-4a0d-b56e-a0bfe880dc94" providerId="ADAL" clId="{BF859A91-FA63-4DC9-AD14-A4569BDBEE57}" dt="2025-03-06T14:46:35.731" v="15396" actId="2696"/>
        <pc:sldMkLst>
          <pc:docMk/>
          <pc:sldMk cId="679806267" sldId="8187"/>
        </pc:sldMkLst>
        <pc:spChg chg="mod">
          <ac:chgData name="CISNEROS ROJAS, CAMILA GEORGINA" userId="c56cbc2a-55cd-4a0d-b56e-a0bfe880dc94" providerId="ADAL" clId="{BF859A91-FA63-4DC9-AD14-A4569BDBEE57}" dt="2025-03-05T19:38:56.473" v="9804" actId="20577"/>
          <ac:spMkLst>
            <pc:docMk/>
            <pc:sldMk cId="679806267" sldId="8187"/>
            <ac:spMk id="2" creationId="{BB262E3A-6F6F-40E2-DB31-63C5CB7E15C1}"/>
          </ac:spMkLst>
        </pc:spChg>
        <pc:spChg chg="del mod">
          <ac:chgData name="CISNEROS ROJAS, CAMILA GEORGINA" userId="c56cbc2a-55cd-4a0d-b56e-a0bfe880dc94" providerId="ADAL" clId="{BF859A91-FA63-4DC9-AD14-A4569BDBEE57}" dt="2025-03-05T19:38:31.919" v="9791" actId="478"/>
          <ac:spMkLst>
            <pc:docMk/>
            <pc:sldMk cId="679806267" sldId="8187"/>
            <ac:spMk id="3" creationId="{74D0E0AE-B9B1-0BF8-EDF7-BF0CF913BEC6}"/>
          </ac:spMkLst>
        </pc:spChg>
        <pc:spChg chg="del">
          <ac:chgData name="CISNEROS ROJAS, CAMILA GEORGINA" userId="c56cbc2a-55cd-4a0d-b56e-a0bfe880dc94" providerId="ADAL" clId="{BF859A91-FA63-4DC9-AD14-A4569BDBEE57}" dt="2025-03-05T19:38:30.483" v="9789" actId="478"/>
          <ac:spMkLst>
            <pc:docMk/>
            <pc:sldMk cId="679806267" sldId="8187"/>
            <ac:spMk id="4" creationId="{F7399CCC-8D9E-5666-BDD5-40954C7E86F2}"/>
          </ac:spMkLst>
        </pc:spChg>
        <pc:spChg chg="add mod">
          <ac:chgData name="CISNEROS ROJAS, CAMILA GEORGINA" userId="c56cbc2a-55cd-4a0d-b56e-a0bfe880dc94" providerId="ADAL" clId="{BF859A91-FA63-4DC9-AD14-A4569BDBEE57}" dt="2025-03-06T12:53:51.179" v="14044" actId="14100"/>
          <ac:spMkLst>
            <pc:docMk/>
            <pc:sldMk cId="679806267" sldId="8187"/>
            <ac:spMk id="8" creationId="{FEC33AF5-FC78-AC56-F930-3D0D31DD9398}"/>
          </ac:spMkLst>
        </pc:spChg>
        <pc:spChg chg="add mod">
          <ac:chgData name="CISNEROS ROJAS, CAMILA GEORGINA" userId="c56cbc2a-55cd-4a0d-b56e-a0bfe880dc94" providerId="ADAL" clId="{BF859A91-FA63-4DC9-AD14-A4569BDBEE57}" dt="2025-03-06T12:53:42.863" v="14042" actId="403"/>
          <ac:spMkLst>
            <pc:docMk/>
            <pc:sldMk cId="679806267" sldId="8187"/>
            <ac:spMk id="11" creationId="{552F56CF-5E74-CA48-AD69-D30DB5DE3DE5}"/>
          </ac:spMkLst>
        </pc:spChg>
        <pc:picChg chg="del">
          <ac:chgData name="CISNEROS ROJAS, CAMILA GEORGINA" userId="c56cbc2a-55cd-4a0d-b56e-a0bfe880dc94" providerId="ADAL" clId="{BF859A91-FA63-4DC9-AD14-A4569BDBEE57}" dt="2025-03-05T19:38:29.481" v="9788" actId="478"/>
          <ac:picMkLst>
            <pc:docMk/>
            <pc:sldMk cId="679806267" sldId="8187"/>
            <ac:picMk id="6" creationId="{BC3B0B8D-EE9A-02D6-7B63-791FDF9ED532}"/>
          </ac:picMkLst>
        </pc:picChg>
        <pc:picChg chg="add mod modCrop">
          <ac:chgData name="CISNEROS ROJAS, CAMILA GEORGINA" userId="c56cbc2a-55cd-4a0d-b56e-a0bfe880dc94" providerId="ADAL" clId="{BF859A91-FA63-4DC9-AD14-A4569BDBEE57}" dt="2025-03-06T13:46:32.253" v="14320" actId="1582"/>
          <ac:picMkLst>
            <pc:docMk/>
            <pc:sldMk cId="679806267" sldId="8187"/>
            <ac:picMk id="7" creationId="{27CBE707-1DFA-4032-27C8-D15837E7A2D0}"/>
          </ac:picMkLst>
        </pc:picChg>
        <pc:picChg chg="add mod modCrop">
          <ac:chgData name="CISNEROS ROJAS, CAMILA GEORGINA" userId="c56cbc2a-55cd-4a0d-b56e-a0bfe880dc94" providerId="ADAL" clId="{BF859A91-FA63-4DC9-AD14-A4569BDBEE57}" dt="2025-03-06T13:46:32.253" v="14320" actId="1582"/>
          <ac:picMkLst>
            <pc:docMk/>
            <pc:sldMk cId="679806267" sldId="8187"/>
            <ac:picMk id="13" creationId="{033E40B3-ADD8-321E-9476-DB76BEAADB2B}"/>
          </ac:picMkLst>
        </pc:picChg>
        <pc:cxnChg chg="add mod">
          <ac:chgData name="CISNEROS ROJAS, CAMILA GEORGINA" userId="c56cbc2a-55cd-4a0d-b56e-a0bfe880dc94" providerId="ADAL" clId="{BF859A91-FA63-4DC9-AD14-A4569BDBEE57}" dt="2025-03-05T19:41:06.686" v="9864" actId="1076"/>
          <ac:cxnSpMkLst>
            <pc:docMk/>
            <pc:sldMk cId="679806267" sldId="8187"/>
            <ac:cxnSpMk id="10" creationId="{EBA07FDA-A237-D644-7767-5CFEDB9D057C}"/>
          </ac:cxnSpMkLst>
        </pc:cxnChg>
      </pc:sldChg>
      <pc:sldChg chg="addSp delSp modSp add del mod ord">
        <pc:chgData name="CISNEROS ROJAS, CAMILA GEORGINA" userId="c56cbc2a-55cd-4a0d-b56e-a0bfe880dc94" providerId="ADAL" clId="{BF859A91-FA63-4DC9-AD14-A4569BDBEE57}" dt="2025-03-06T14:46:38.277" v="15397" actId="2696"/>
        <pc:sldMkLst>
          <pc:docMk/>
          <pc:sldMk cId="110970353" sldId="8188"/>
        </pc:sldMkLst>
        <pc:spChg chg="mod">
          <ac:chgData name="CISNEROS ROJAS, CAMILA GEORGINA" userId="c56cbc2a-55cd-4a0d-b56e-a0bfe880dc94" providerId="ADAL" clId="{BF859A91-FA63-4DC9-AD14-A4569BDBEE57}" dt="2025-03-06T12:53:59.802" v="14046" actId="14100"/>
          <ac:spMkLst>
            <pc:docMk/>
            <pc:sldMk cId="110970353" sldId="8188"/>
            <ac:spMk id="8" creationId="{FEC33AF5-FC78-AC56-F930-3D0D31DD9398}"/>
          </ac:spMkLst>
        </pc:spChg>
        <pc:spChg chg="mod">
          <ac:chgData name="CISNEROS ROJAS, CAMILA GEORGINA" userId="c56cbc2a-55cd-4a0d-b56e-a0bfe880dc94" providerId="ADAL" clId="{BF859A91-FA63-4DC9-AD14-A4569BDBEE57}" dt="2025-03-06T12:54:02.344" v="14047" actId="14100"/>
          <ac:spMkLst>
            <pc:docMk/>
            <pc:sldMk cId="110970353" sldId="8188"/>
            <ac:spMk id="11" creationId="{552F56CF-5E74-CA48-AD69-D30DB5DE3DE5}"/>
          </ac:spMkLst>
        </pc:spChg>
        <pc:picChg chg="add mod modCrop">
          <ac:chgData name="CISNEROS ROJAS, CAMILA GEORGINA" userId="c56cbc2a-55cd-4a0d-b56e-a0bfe880dc94" providerId="ADAL" clId="{BF859A91-FA63-4DC9-AD14-A4569BDBEE57}" dt="2025-03-06T13:47:15.921" v="14325" actId="1582"/>
          <ac:picMkLst>
            <pc:docMk/>
            <pc:sldMk cId="110970353" sldId="8188"/>
            <ac:picMk id="4" creationId="{3E680A54-9618-6ED8-A94C-78004969ACE2}"/>
          </ac:picMkLst>
        </pc:picChg>
        <pc:picChg chg="add mod modCrop">
          <ac:chgData name="CISNEROS ROJAS, CAMILA GEORGINA" userId="c56cbc2a-55cd-4a0d-b56e-a0bfe880dc94" providerId="ADAL" clId="{BF859A91-FA63-4DC9-AD14-A4569BDBEE57}" dt="2025-03-06T13:47:15.921" v="14325" actId="1582"/>
          <ac:picMkLst>
            <pc:docMk/>
            <pc:sldMk cId="110970353" sldId="8188"/>
            <ac:picMk id="6" creationId="{A2FC8CD2-C983-DB2A-E43E-24302A4F3637}"/>
          </ac:picMkLst>
        </pc:picChg>
        <pc:picChg chg="del">
          <ac:chgData name="CISNEROS ROJAS, CAMILA GEORGINA" userId="c56cbc2a-55cd-4a0d-b56e-a0bfe880dc94" providerId="ADAL" clId="{BF859A91-FA63-4DC9-AD14-A4569BDBEE57}" dt="2025-03-05T19:43:53.709" v="9944" actId="478"/>
          <ac:picMkLst>
            <pc:docMk/>
            <pc:sldMk cId="110970353" sldId="8188"/>
            <ac:picMk id="7" creationId="{27CBE707-1DFA-4032-27C8-D15837E7A2D0}"/>
          </ac:picMkLst>
        </pc:picChg>
        <pc:picChg chg="del">
          <ac:chgData name="CISNEROS ROJAS, CAMILA GEORGINA" userId="c56cbc2a-55cd-4a0d-b56e-a0bfe880dc94" providerId="ADAL" clId="{BF859A91-FA63-4DC9-AD14-A4569BDBEE57}" dt="2025-03-05T19:43:54.288" v="9945" actId="478"/>
          <ac:picMkLst>
            <pc:docMk/>
            <pc:sldMk cId="110970353" sldId="8188"/>
            <ac:picMk id="13" creationId="{033E40B3-ADD8-321E-9476-DB76BEAADB2B}"/>
          </ac:picMkLst>
        </pc:picChg>
      </pc:sldChg>
      <pc:sldChg chg="addSp delSp modSp add mod ord">
        <pc:chgData name="CISNEROS ROJAS, CAMILA GEORGINA" userId="c56cbc2a-55cd-4a0d-b56e-a0bfe880dc94" providerId="ADAL" clId="{BF859A91-FA63-4DC9-AD14-A4569BDBEE57}" dt="2025-03-06T15:40:38.447" v="16133" actId="1076"/>
        <pc:sldMkLst>
          <pc:docMk/>
          <pc:sldMk cId="2444844250" sldId="8189"/>
        </pc:sldMkLst>
        <pc:spChg chg="mod">
          <ac:chgData name="CISNEROS ROJAS, CAMILA GEORGINA" userId="c56cbc2a-55cd-4a0d-b56e-a0bfe880dc94" providerId="ADAL" clId="{BF859A91-FA63-4DC9-AD14-A4569BDBEE57}" dt="2025-03-05T19:46:18.244" v="10084" actId="20577"/>
          <ac:spMkLst>
            <pc:docMk/>
            <pc:sldMk cId="2444844250" sldId="8189"/>
            <ac:spMk id="2" creationId="{BB262E3A-6F6F-40E2-DB31-63C5CB7E15C1}"/>
          </ac:spMkLst>
        </pc:spChg>
        <pc:spChg chg="mod">
          <ac:chgData name="CISNEROS ROJAS, CAMILA GEORGINA" userId="c56cbc2a-55cd-4a0d-b56e-a0bfe880dc94" providerId="ADAL" clId="{BF859A91-FA63-4DC9-AD14-A4569BDBEE57}" dt="2025-03-06T12:53:22.463" v="14037" actId="14100"/>
          <ac:spMkLst>
            <pc:docMk/>
            <pc:sldMk cId="2444844250" sldId="8189"/>
            <ac:spMk id="3" creationId="{74D0E0AE-B9B1-0BF8-EDF7-BF0CF913BEC6}"/>
          </ac:spMkLst>
        </pc:spChg>
        <pc:spChg chg="mod">
          <ac:chgData name="CISNEROS ROJAS, CAMILA GEORGINA" userId="c56cbc2a-55cd-4a0d-b56e-a0bfe880dc94" providerId="ADAL" clId="{BF859A91-FA63-4DC9-AD14-A4569BDBEE57}" dt="2025-03-06T12:53:18.494" v="14036" actId="403"/>
          <ac:spMkLst>
            <pc:docMk/>
            <pc:sldMk cId="2444844250" sldId="8189"/>
            <ac:spMk id="4" creationId="{F7399CCC-8D9E-5666-BDD5-40954C7E86F2}"/>
          </ac:spMkLst>
        </pc:spChg>
        <pc:spChg chg="add del mod">
          <ac:chgData name="CISNEROS ROJAS, CAMILA GEORGINA" userId="c56cbc2a-55cd-4a0d-b56e-a0bfe880dc94" providerId="ADAL" clId="{BF859A91-FA63-4DC9-AD14-A4569BDBEE57}" dt="2025-03-06T15:33:38.673" v="16074" actId="478"/>
          <ac:spMkLst>
            <pc:docMk/>
            <pc:sldMk cId="2444844250" sldId="8189"/>
            <ac:spMk id="5" creationId="{19880DB8-CE05-F387-2DDB-CA6ECAA10B4C}"/>
          </ac:spMkLst>
        </pc:spChg>
        <pc:spChg chg="add mod">
          <ac:chgData name="CISNEROS ROJAS, CAMILA GEORGINA" userId="c56cbc2a-55cd-4a0d-b56e-a0bfe880dc94" providerId="ADAL" clId="{BF859A91-FA63-4DC9-AD14-A4569BDBEE57}" dt="2025-03-06T15:40:27.732" v="16130" actId="555"/>
          <ac:spMkLst>
            <pc:docMk/>
            <pc:sldMk cId="2444844250" sldId="8189"/>
            <ac:spMk id="6" creationId="{EAB8ACCD-4B8E-375B-1C6F-597E1CE5B22D}"/>
          </ac:spMkLst>
        </pc:spChg>
        <pc:spChg chg="add del mod">
          <ac:chgData name="CISNEROS ROJAS, CAMILA GEORGINA" userId="c56cbc2a-55cd-4a0d-b56e-a0bfe880dc94" providerId="ADAL" clId="{BF859A91-FA63-4DC9-AD14-A4569BDBEE57}" dt="2025-03-06T15:37:44.859" v="16122" actId="478"/>
          <ac:spMkLst>
            <pc:docMk/>
            <pc:sldMk cId="2444844250" sldId="8189"/>
            <ac:spMk id="8" creationId="{15C98D7B-E0A5-B1A2-8F44-701A9ECC3498}"/>
          </ac:spMkLst>
        </pc:spChg>
        <pc:spChg chg="add del mod">
          <ac:chgData name="CISNEROS ROJAS, CAMILA GEORGINA" userId="c56cbc2a-55cd-4a0d-b56e-a0bfe880dc94" providerId="ADAL" clId="{BF859A91-FA63-4DC9-AD14-A4569BDBEE57}" dt="2025-03-06T15:40:19.012" v="16128" actId="478"/>
          <ac:spMkLst>
            <pc:docMk/>
            <pc:sldMk cId="2444844250" sldId="8189"/>
            <ac:spMk id="9" creationId="{48C4C14A-1AA9-F758-C2A9-F05760F7EF6D}"/>
          </ac:spMkLst>
        </pc:spChg>
        <pc:spChg chg="add del mod">
          <ac:chgData name="CISNEROS ROJAS, CAMILA GEORGINA" userId="c56cbc2a-55cd-4a0d-b56e-a0bfe880dc94" providerId="ADAL" clId="{BF859A91-FA63-4DC9-AD14-A4569BDBEE57}" dt="2025-03-06T15:36:48.243" v="16105" actId="478"/>
          <ac:spMkLst>
            <pc:docMk/>
            <pc:sldMk cId="2444844250" sldId="8189"/>
            <ac:spMk id="10" creationId="{C9BF81DB-99DB-F58D-E23F-20CC08928634}"/>
          </ac:spMkLst>
        </pc:spChg>
        <pc:spChg chg="add del mod">
          <ac:chgData name="CISNEROS ROJAS, CAMILA GEORGINA" userId="c56cbc2a-55cd-4a0d-b56e-a0bfe880dc94" providerId="ADAL" clId="{BF859A91-FA63-4DC9-AD14-A4569BDBEE57}" dt="2025-03-06T15:40:19.986" v="16129" actId="478"/>
          <ac:spMkLst>
            <pc:docMk/>
            <pc:sldMk cId="2444844250" sldId="8189"/>
            <ac:spMk id="11" creationId="{8477DB6E-2E0E-ED89-3052-F46783F924CD}"/>
          </ac:spMkLst>
        </pc:spChg>
        <pc:spChg chg="add mod">
          <ac:chgData name="CISNEROS ROJAS, CAMILA GEORGINA" userId="c56cbc2a-55cd-4a0d-b56e-a0bfe880dc94" providerId="ADAL" clId="{BF859A91-FA63-4DC9-AD14-A4569BDBEE57}" dt="2025-03-06T15:40:27.732" v="16130" actId="555"/>
          <ac:spMkLst>
            <pc:docMk/>
            <pc:sldMk cId="2444844250" sldId="8189"/>
            <ac:spMk id="12" creationId="{631AD24F-A8A9-BA31-55A7-E7CD5C8F3BAC}"/>
          </ac:spMkLst>
        </pc:spChg>
        <pc:spChg chg="add mod">
          <ac:chgData name="CISNEROS ROJAS, CAMILA GEORGINA" userId="c56cbc2a-55cd-4a0d-b56e-a0bfe880dc94" providerId="ADAL" clId="{BF859A91-FA63-4DC9-AD14-A4569BDBEE57}" dt="2025-03-06T15:40:27.732" v="16130" actId="555"/>
          <ac:spMkLst>
            <pc:docMk/>
            <pc:sldMk cId="2444844250" sldId="8189"/>
            <ac:spMk id="13" creationId="{B215D771-DE7D-3ED9-D6BC-D0C54EF80AB9}"/>
          </ac:spMkLst>
        </pc:spChg>
        <pc:spChg chg="add mod">
          <ac:chgData name="CISNEROS ROJAS, CAMILA GEORGINA" userId="c56cbc2a-55cd-4a0d-b56e-a0bfe880dc94" providerId="ADAL" clId="{BF859A91-FA63-4DC9-AD14-A4569BDBEE57}" dt="2025-03-06T15:40:38.447" v="16133" actId="1076"/>
          <ac:spMkLst>
            <pc:docMk/>
            <pc:sldMk cId="2444844250" sldId="8189"/>
            <ac:spMk id="14" creationId="{4E58F693-5105-6A71-BD6A-B3C6CC5F7922}"/>
          </ac:spMkLst>
        </pc:spChg>
        <pc:spChg chg="add mod">
          <ac:chgData name="CISNEROS ROJAS, CAMILA GEORGINA" userId="c56cbc2a-55cd-4a0d-b56e-a0bfe880dc94" providerId="ADAL" clId="{BF859A91-FA63-4DC9-AD14-A4569BDBEE57}" dt="2025-03-06T15:40:27.732" v="16130" actId="555"/>
          <ac:spMkLst>
            <pc:docMk/>
            <pc:sldMk cId="2444844250" sldId="8189"/>
            <ac:spMk id="15" creationId="{212E98C4-A21A-2E57-7E5F-AE37B7487EC0}"/>
          </ac:spMkLst>
        </pc:spChg>
        <pc:picChg chg="del">
          <ac:chgData name="CISNEROS ROJAS, CAMILA GEORGINA" userId="c56cbc2a-55cd-4a0d-b56e-a0bfe880dc94" providerId="ADAL" clId="{BF859A91-FA63-4DC9-AD14-A4569BDBEE57}" dt="2025-03-05T19:46:36.348" v="10102" actId="478"/>
          <ac:picMkLst>
            <pc:docMk/>
            <pc:sldMk cId="2444844250" sldId="8189"/>
            <ac:picMk id="6" creationId="{BC3B0B8D-EE9A-02D6-7B63-791FDF9ED532}"/>
          </ac:picMkLst>
        </pc:picChg>
        <pc:picChg chg="add mod">
          <ac:chgData name="CISNEROS ROJAS, CAMILA GEORGINA" userId="c56cbc2a-55cd-4a0d-b56e-a0bfe880dc94" providerId="ADAL" clId="{BF859A91-FA63-4DC9-AD14-A4569BDBEE57}" dt="2025-03-06T15:37:38.589" v="16121" actId="1076"/>
          <ac:picMkLst>
            <pc:docMk/>
            <pc:sldMk cId="2444844250" sldId="8189"/>
            <ac:picMk id="7" creationId="{3C1BFEFD-FE09-BFDD-729F-EF5AEFA59B8A}"/>
          </ac:picMkLst>
        </pc:picChg>
      </pc:sldChg>
      <pc:sldChg chg="addSp delSp modSp add del mod ord">
        <pc:chgData name="CISNEROS ROJAS, CAMILA GEORGINA" userId="c56cbc2a-55cd-4a0d-b56e-a0bfe880dc94" providerId="ADAL" clId="{BF859A91-FA63-4DC9-AD14-A4569BDBEE57}" dt="2025-03-06T14:47:03.945" v="15398" actId="2696"/>
        <pc:sldMkLst>
          <pc:docMk/>
          <pc:sldMk cId="450019161" sldId="8190"/>
        </pc:sldMkLst>
        <pc:spChg chg="mod">
          <ac:chgData name="CISNEROS ROJAS, CAMILA GEORGINA" userId="c56cbc2a-55cd-4a0d-b56e-a0bfe880dc94" providerId="ADAL" clId="{BF859A91-FA63-4DC9-AD14-A4569BDBEE57}" dt="2025-03-06T12:54:12.715" v="14049" actId="14100"/>
          <ac:spMkLst>
            <pc:docMk/>
            <pc:sldMk cId="450019161" sldId="8190"/>
            <ac:spMk id="8" creationId="{FEC33AF5-FC78-AC56-F930-3D0D31DD9398}"/>
          </ac:spMkLst>
        </pc:spChg>
        <pc:spChg chg="mod">
          <ac:chgData name="CISNEROS ROJAS, CAMILA GEORGINA" userId="c56cbc2a-55cd-4a0d-b56e-a0bfe880dc94" providerId="ADAL" clId="{BF859A91-FA63-4DC9-AD14-A4569BDBEE57}" dt="2025-03-06T13:47:50.538" v="14335" actId="14100"/>
          <ac:spMkLst>
            <pc:docMk/>
            <pc:sldMk cId="450019161" sldId="8190"/>
            <ac:spMk id="11" creationId="{552F56CF-5E74-CA48-AD69-D30DB5DE3DE5}"/>
          </ac:spMkLst>
        </pc:spChg>
        <pc:picChg chg="add mod">
          <ac:chgData name="CISNEROS ROJAS, CAMILA GEORGINA" userId="c56cbc2a-55cd-4a0d-b56e-a0bfe880dc94" providerId="ADAL" clId="{BF859A91-FA63-4DC9-AD14-A4569BDBEE57}" dt="2025-03-06T13:47:43.496" v="14334" actId="1038"/>
          <ac:picMkLst>
            <pc:docMk/>
            <pc:sldMk cId="450019161" sldId="8190"/>
            <ac:picMk id="4" creationId="{20CFC7B4-FEFE-8731-6889-BC829FA61BF5}"/>
          </ac:picMkLst>
        </pc:picChg>
        <pc:picChg chg="add mod">
          <ac:chgData name="CISNEROS ROJAS, CAMILA GEORGINA" userId="c56cbc2a-55cd-4a0d-b56e-a0bfe880dc94" providerId="ADAL" clId="{BF859A91-FA63-4DC9-AD14-A4569BDBEE57}" dt="2025-03-06T13:47:40.392" v="14329" actId="1582"/>
          <ac:picMkLst>
            <pc:docMk/>
            <pc:sldMk cId="450019161" sldId="8190"/>
            <ac:picMk id="6" creationId="{D7BB0C3A-B462-DAE1-9FD0-CD67590B3825}"/>
          </ac:picMkLst>
        </pc:picChg>
        <pc:picChg chg="del">
          <ac:chgData name="CISNEROS ROJAS, CAMILA GEORGINA" userId="c56cbc2a-55cd-4a0d-b56e-a0bfe880dc94" providerId="ADAL" clId="{BF859A91-FA63-4DC9-AD14-A4569BDBEE57}" dt="2025-03-05T19:50:45.645" v="10383" actId="478"/>
          <ac:picMkLst>
            <pc:docMk/>
            <pc:sldMk cId="450019161" sldId="8190"/>
            <ac:picMk id="7" creationId="{27CBE707-1DFA-4032-27C8-D15837E7A2D0}"/>
          </ac:picMkLst>
        </pc:picChg>
        <pc:picChg chg="del">
          <ac:chgData name="CISNEROS ROJAS, CAMILA GEORGINA" userId="c56cbc2a-55cd-4a0d-b56e-a0bfe880dc94" providerId="ADAL" clId="{BF859A91-FA63-4DC9-AD14-A4569BDBEE57}" dt="2025-03-05T19:50:46.324" v="10384" actId="478"/>
          <ac:picMkLst>
            <pc:docMk/>
            <pc:sldMk cId="450019161" sldId="8190"/>
            <ac:picMk id="13" creationId="{033E40B3-ADD8-321E-9476-DB76BEAADB2B}"/>
          </ac:picMkLst>
        </pc:picChg>
        <pc:cxnChg chg="mod">
          <ac:chgData name="CISNEROS ROJAS, CAMILA GEORGINA" userId="c56cbc2a-55cd-4a0d-b56e-a0bfe880dc94" providerId="ADAL" clId="{BF859A91-FA63-4DC9-AD14-A4569BDBEE57}" dt="2025-03-05T19:55:54.670" v="10503" actId="1076"/>
          <ac:cxnSpMkLst>
            <pc:docMk/>
            <pc:sldMk cId="450019161" sldId="8190"/>
            <ac:cxnSpMk id="10" creationId="{EBA07FDA-A237-D644-7767-5CFEDB9D057C}"/>
          </ac:cxnSpMkLst>
        </pc:cxnChg>
      </pc:sldChg>
      <pc:sldChg chg="addSp delSp modSp add del mod ord">
        <pc:chgData name="CISNEROS ROJAS, CAMILA GEORGINA" userId="c56cbc2a-55cd-4a0d-b56e-a0bfe880dc94" providerId="ADAL" clId="{BF859A91-FA63-4DC9-AD14-A4569BDBEE57}" dt="2025-03-06T14:47:03.945" v="15398" actId="2696"/>
        <pc:sldMkLst>
          <pc:docMk/>
          <pc:sldMk cId="4133775241" sldId="8191"/>
        </pc:sldMkLst>
        <pc:spChg chg="mod">
          <ac:chgData name="CISNEROS ROJAS, CAMILA GEORGINA" userId="c56cbc2a-55cd-4a0d-b56e-a0bfe880dc94" providerId="ADAL" clId="{BF859A91-FA63-4DC9-AD14-A4569BDBEE57}" dt="2025-03-06T12:54:23.067" v="14052" actId="14100"/>
          <ac:spMkLst>
            <pc:docMk/>
            <pc:sldMk cId="4133775241" sldId="8191"/>
            <ac:spMk id="8" creationId="{FEC33AF5-FC78-AC56-F930-3D0D31DD9398}"/>
          </ac:spMkLst>
        </pc:spChg>
        <pc:spChg chg="mod">
          <ac:chgData name="CISNEROS ROJAS, CAMILA GEORGINA" userId="c56cbc2a-55cd-4a0d-b56e-a0bfe880dc94" providerId="ADAL" clId="{BF859A91-FA63-4DC9-AD14-A4569BDBEE57}" dt="2025-03-06T12:54:25.875" v="14053" actId="14100"/>
          <ac:spMkLst>
            <pc:docMk/>
            <pc:sldMk cId="4133775241" sldId="8191"/>
            <ac:spMk id="11" creationId="{552F56CF-5E74-CA48-AD69-D30DB5DE3DE5}"/>
          </ac:spMkLst>
        </pc:spChg>
        <pc:picChg chg="del mod">
          <ac:chgData name="CISNEROS ROJAS, CAMILA GEORGINA" userId="c56cbc2a-55cd-4a0d-b56e-a0bfe880dc94" providerId="ADAL" clId="{BF859A91-FA63-4DC9-AD14-A4569BDBEE57}" dt="2025-03-05T19:56:28.590" v="10544" actId="478"/>
          <ac:picMkLst>
            <pc:docMk/>
            <pc:sldMk cId="4133775241" sldId="8191"/>
            <ac:picMk id="4" creationId="{3E680A54-9618-6ED8-A94C-78004969ACE2}"/>
          </ac:picMkLst>
        </pc:picChg>
        <pc:picChg chg="add mod">
          <ac:chgData name="CISNEROS ROJAS, CAMILA GEORGINA" userId="c56cbc2a-55cd-4a0d-b56e-a0bfe880dc94" providerId="ADAL" clId="{BF859A91-FA63-4DC9-AD14-A4569BDBEE57}" dt="2025-03-06T13:48:01.242" v="14337" actId="1582"/>
          <ac:picMkLst>
            <pc:docMk/>
            <pc:sldMk cId="4133775241" sldId="8191"/>
            <ac:picMk id="5" creationId="{F5FEA87F-8397-E533-67A6-EE61B5E6D89A}"/>
          </ac:picMkLst>
        </pc:picChg>
        <pc:picChg chg="del mod">
          <ac:chgData name="CISNEROS ROJAS, CAMILA GEORGINA" userId="c56cbc2a-55cd-4a0d-b56e-a0bfe880dc94" providerId="ADAL" clId="{BF859A91-FA63-4DC9-AD14-A4569BDBEE57}" dt="2025-03-05T19:57:31.569" v="10597" actId="478"/>
          <ac:picMkLst>
            <pc:docMk/>
            <pc:sldMk cId="4133775241" sldId="8191"/>
            <ac:picMk id="6" creationId="{A2FC8CD2-C983-DB2A-E43E-24302A4F3637}"/>
          </ac:picMkLst>
        </pc:picChg>
        <pc:picChg chg="add mod modCrop">
          <ac:chgData name="CISNEROS ROJAS, CAMILA GEORGINA" userId="c56cbc2a-55cd-4a0d-b56e-a0bfe880dc94" providerId="ADAL" clId="{BF859A91-FA63-4DC9-AD14-A4569BDBEE57}" dt="2025-03-06T13:48:01.242" v="14337" actId="1582"/>
          <ac:picMkLst>
            <pc:docMk/>
            <pc:sldMk cId="4133775241" sldId="8191"/>
            <ac:picMk id="9" creationId="{4B2D31BC-558F-9BCD-5F00-53E6AD7FEAC3}"/>
          </ac:picMkLst>
        </pc:picChg>
        <pc:cxnChg chg="del">
          <ac:chgData name="CISNEROS ROJAS, CAMILA GEORGINA" userId="c56cbc2a-55cd-4a0d-b56e-a0bfe880dc94" providerId="ADAL" clId="{BF859A91-FA63-4DC9-AD14-A4569BDBEE57}" dt="2025-03-05T19:57:02.087" v="10549" actId="478"/>
          <ac:cxnSpMkLst>
            <pc:docMk/>
            <pc:sldMk cId="4133775241" sldId="8191"/>
            <ac:cxnSpMk id="10" creationId="{EBA07FDA-A237-D644-7767-5CFEDB9D057C}"/>
          </ac:cxnSpMkLst>
        </pc:cxnChg>
      </pc:sldChg>
      <pc:sldChg chg="addSp delSp modSp new mod ord">
        <pc:chgData name="CISNEROS ROJAS, CAMILA GEORGINA" userId="c56cbc2a-55cd-4a0d-b56e-a0bfe880dc94" providerId="ADAL" clId="{BF859A91-FA63-4DC9-AD14-A4569BDBEE57}" dt="2025-03-06T14:50:55.257" v="15426" actId="20577"/>
        <pc:sldMkLst>
          <pc:docMk/>
          <pc:sldMk cId="2194542983" sldId="8192"/>
        </pc:sldMkLst>
        <pc:spChg chg="mod">
          <ac:chgData name="CISNEROS ROJAS, CAMILA GEORGINA" userId="c56cbc2a-55cd-4a0d-b56e-a0bfe880dc94" providerId="ADAL" clId="{BF859A91-FA63-4DC9-AD14-A4569BDBEE57}" dt="2025-03-05T19:58:28.967" v="10632" actId="20577"/>
          <ac:spMkLst>
            <pc:docMk/>
            <pc:sldMk cId="2194542983" sldId="8192"/>
            <ac:spMk id="2" creationId="{E16C14D2-6B44-FEF1-E6B6-6C10BDC733E5}"/>
          </ac:spMkLst>
        </pc:spChg>
        <pc:spChg chg="add mod">
          <ac:chgData name="CISNEROS ROJAS, CAMILA GEORGINA" userId="c56cbc2a-55cd-4a0d-b56e-a0bfe880dc94" providerId="ADAL" clId="{BF859A91-FA63-4DC9-AD14-A4569BDBEE57}" dt="2025-03-06T14:50:55.257" v="15426" actId="20577"/>
          <ac:spMkLst>
            <pc:docMk/>
            <pc:sldMk cId="2194542983" sldId="8192"/>
            <ac:spMk id="3" creationId="{4C4E43B5-37C9-B768-F517-A53BC84F70BF}"/>
          </ac:spMkLst>
        </pc:spChg>
        <pc:spChg chg="add mod">
          <ac:chgData name="CISNEROS ROJAS, CAMILA GEORGINA" userId="c56cbc2a-55cd-4a0d-b56e-a0bfe880dc94" providerId="ADAL" clId="{BF859A91-FA63-4DC9-AD14-A4569BDBEE57}" dt="2025-03-06T14:48:32.629" v="15402" actId="1076"/>
          <ac:spMkLst>
            <pc:docMk/>
            <pc:sldMk cId="2194542983" sldId="8192"/>
            <ac:spMk id="4" creationId="{AE673608-CD3A-B3DD-6B29-8130EA928DEC}"/>
          </ac:spMkLst>
        </pc:spChg>
        <pc:picChg chg="add del">
          <ac:chgData name="CISNEROS ROJAS, CAMILA GEORGINA" userId="c56cbc2a-55cd-4a0d-b56e-a0bfe880dc94" providerId="ADAL" clId="{BF859A91-FA63-4DC9-AD14-A4569BDBEE57}" dt="2025-03-06T14:49:16.611" v="15407" actId="478"/>
          <ac:picMkLst>
            <pc:docMk/>
            <pc:sldMk cId="2194542983" sldId="8192"/>
            <ac:picMk id="5" creationId="{40176A25-EC72-B0A7-278D-B9700142A806}"/>
          </ac:picMkLst>
        </pc:picChg>
        <pc:picChg chg="add mod">
          <ac:chgData name="CISNEROS ROJAS, CAMILA GEORGINA" userId="c56cbc2a-55cd-4a0d-b56e-a0bfe880dc94" providerId="ADAL" clId="{BF859A91-FA63-4DC9-AD14-A4569BDBEE57}" dt="2025-03-06T14:49:43.572" v="15415" actId="208"/>
          <ac:picMkLst>
            <pc:docMk/>
            <pc:sldMk cId="2194542983" sldId="8192"/>
            <ac:picMk id="2050" creationId="{0C60E837-8D83-6027-A86D-8CB072E19038}"/>
          </ac:picMkLst>
        </pc:picChg>
      </pc:sldChg>
      <pc:sldChg chg="addSp delSp modSp new mod ord">
        <pc:chgData name="CISNEROS ROJAS, CAMILA GEORGINA" userId="c56cbc2a-55cd-4a0d-b56e-a0bfe880dc94" providerId="ADAL" clId="{BF859A91-FA63-4DC9-AD14-A4569BDBEE57}" dt="2025-03-06T14:58:48.055" v="15838" actId="1076"/>
        <pc:sldMkLst>
          <pc:docMk/>
          <pc:sldMk cId="2312190459" sldId="8193"/>
        </pc:sldMkLst>
        <pc:spChg chg="mod">
          <ac:chgData name="CISNEROS ROJAS, CAMILA GEORGINA" userId="c56cbc2a-55cd-4a0d-b56e-a0bfe880dc94" providerId="ADAL" clId="{BF859A91-FA63-4DC9-AD14-A4569BDBEE57}" dt="2025-03-05T20:09:56.559" v="12177" actId="20577"/>
          <ac:spMkLst>
            <pc:docMk/>
            <pc:sldMk cId="2312190459" sldId="8193"/>
            <ac:spMk id="2" creationId="{EC9B169B-90BB-3598-DA1B-8B35A7A90AC4}"/>
          </ac:spMkLst>
        </pc:spChg>
        <pc:spChg chg="add mod">
          <ac:chgData name="CISNEROS ROJAS, CAMILA GEORGINA" userId="c56cbc2a-55cd-4a0d-b56e-a0bfe880dc94" providerId="ADAL" clId="{BF859A91-FA63-4DC9-AD14-A4569BDBEE57}" dt="2025-03-06T12:58:53.126" v="14220" actId="1076"/>
          <ac:spMkLst>
            <pc:docMk/>
            <pc:sldMk cId="2312190459" sldId="8193"/>
            <ac:spMk id="3" creationId="{3615F520-0A72-3794-7A11-5E6C89ECC92F}"/>
          </ac:spMkLst>
        </pc:spChg>
        <pc:spChg chg="add mod">
          <ac:chgData name="CISNEROS ROJAS, CAMILA GEORGINA" userId="c56cbc2a-55cd-4a0d-b56e-a0bfe880dc94" providerId="ADAL" clId="{BF859A91-FA63-4DC9-AD14-A4569BDBEE57}" dt="2025-03-06T12:58:48.478" v="14218" actId="1076"/>
          <ac:spMkLst>
            <pc:docMk/>
            <pc:sldMk cId="2312190459" sldId="8193"/>
            <ac:spMk id="4" creationId="{6F9F6C5C-34EA-65FF-35D4-CB37E56F5D08}"/>
          </ac:spMkLst>
        </pc:spChg>
        <pc:spChg chg="add mod">
          <ac:chgData name="CISNEROS ROJAS, CAMILA GEORGINA" userId="c56cbc2a-55cd-4a0d-b56e-a0bfe880dc94" providerId="ADAL" clId="{BF859A91-FA63-4DC9-AD14-A4569BDBEE57}" dt="2025-03-06T14:58:38.998" v="15836" actId="1076"/>
          <ac:spMkLst>
            <pc:docMk/>
            <pc:sldMk cId="2312190459" sldId="8193"/>
            <ac:spMk id="5" creationId="{8AFFD92F-9BB8-0E01-3982-1330DA13DD46}"/>
          </ac:spMkLst>
        </pc:spChg>
        <pc:spChg chg="add mod">
          <ac:chgData name="CISNEROS ROJAS, CAMILA GEORGINA" userId="c56cbc2a-55cd-4a0d-b56e-a0bfe880dc94" providerId="ADAL" clId="{BF859A91-FA63-4DC9-AD14-A4569BDBEE57}" dt="2025-03-06T14:58:38.998" v="15836" actId="1076"/>
          <ac:spMkLst>
            <pc:docMk/>
            <pc:sldMk cId="2312190459" sldId="8193"/>
            <ac:spMk id="8" creationId="{B4CEDBF1-C9A7-C29C-ED5D-FE286E170E5E}"/>
          </ac:spMkLst>
        </pc:spChg>
        <pc:spChg chg="add mod">
          <ac:chgData name="CISNEROS ROJAS, CAMILA GEORGINA" userId="c56cbc2a-55cd-4a0d-b56e-a0bfe880dc94" providerId="ADAL" clId="{BF859A91-FA63-4DC9-AD14-A4569BDBEE57}" dt="2025-03-06T14:58:48.055" v="15838" actId="1076"/>
          <ac:spMkLst>
            <pc:docMk/>
            <pc:sldMk cId="2312190459" sldId="8193"/>
            <ac:spMk id="9" creationId="{AEE60E83-F2C8-0353-9735-854742B4206A}"/>
          </ac:spMkLst>
        </pc:spChg>
        <pc:spChg chg="add mod">
          <ac:chgData name="CISNEROS ROJAS, CAMILA GEORGINA" userId="c56cbc2a-55cd-4a0d-b56e-a0bfe880dc94" providerId="ADAL" clId="{BF859A91-FA63-4DC9-AD14-A4569BDBEE57}" dt="2025-03-06T14:58:48.055" v="15838" actId="1076"/>
          <ac:spMkLst>
            <pc:docMk/>
            <pc:sldMk cId="2312190459" sldId="8193"/>
            <ac:spMk id="11" creationId="{D1D424AF-545C-9855-BAAD-EDE2E5786B00}"/>
          </ac:spMkLst>
        </pc:spChg>
        <pc:spChg chg="add mod ord">
          <ac:chgData name="CISNEROS ROJAS, CAMILA GEORGINA" userId="c56cbc2a-55cd-4a0d-b56e-a0bfe880dc94" providerId="ADAL" clId="{BF859A91-FA63-4DC9-AD14-A4569BDBEE57}" dt="2025-03-06T14:58:38.998" v="15836" actId="1076"/>
          <ac:spMkLst>
            <pc:docMk/>
            <pc:sldMk cId="2312190459" sldId="8193"/>
            <ac:spMk id="12" creationId="{87203FEB-774E-CE1C-63F3-6810A1C7D522}"/>
          </ac:spMkLst>
        </pc:spChg>
        <pc:spChg chg="add mod ord">
          <ac:chgData name="CISNEROS ROJAS, CAMILA GEORGINA" userId="c56cbc2a-55cd-4a0d-b56e-a0bfe880dc94" providerId="ADAL" clId="{BF859A91-FA63-4DC9-AD14-A4569BDBEE57}" dt="2025-03-06T12:58:56.303" v="14221" actId="14100"/>
          <ac:spMkLst>
            <pc:docMk/>
            <pc:sldMk cId="2312190459" sldId="8193"/>
            <ac:spMk id="13" creationId="{5FE1E12C-0FD2-443C-A03C-453102141233}"/>
          </ac:spMkLst>
        </pc:spChg>
        <pc:spChg chg="add mod ord">
          <ac:chgData name="CISNEROS ROJAS, CAMILA GEORGINA" userId="c56cbc2a-55cd-4a0d-b56e-a0bfe880dc94" providerId="ADAL" clId="{BF859A91-FA63-4DC9-AD14-A4569BDBEE57}" dt="2025-03-06T14:58:48.055" v="15838" actId="1076"/>
          <ac:spMkLst>
            <pc:docMk/>
            <pc:sldMk cId="2312190459" sldId="8193"/>
            <ac:spMk id="14" creationId="{48E7BDFE-E20C-96BF-81B8-7DF6BC32BA32}"/>
          </ac:spMkLst>
        </pc:spChg>
        <pc:spChg chg="add del mod">
          <ac:chgData name="CISNEROS ROJAS, CAMILA GEORGINA" userId="c56cbc2a-55cd-4a0d-b56e-a0bfe880dc94" providerId="ADAL" clId="{BF859A91-FA63-4DC9-AD14-A4569BDBEE57}" dt="2025-03-06T14:56:57.745" v="15703"/>
          <ac:spMkLst>
            <pc:docMk/>
            <pc:sldMk cId="2312190459" sldId="8193"/>
            <ac:spMk id="15" creationId="{42D6A40C-678D-7872-B0EF-EBD6F1A67948}"/>
          </ac:spMkLst>
        </pc:spChg>
        <pc:spChg chg="add del mod">
          <ac:chgData name="CISNEROS ROJAS, CAMILA GEORGINA" userId="c56cbc2a-55cd-4a0d-b56e-a0bfe880dc94" providerId="ADAL" clId="{BF859A91-FA63-4DC9-AD14-A4569BDBEE57}" dt="2025-03-06T14:56:57.745" v="15703"/>
          <ac:spMkLst>
            <pc:docMk/>
            <pc:sldMk cId="2312190459" sldId="8193"/>
            <ac:spMk id="16" creationId="{C7D5685A-4CB8-19A8-E257-5152E0640EED}"/>
          </ac:spMkLst>
        </pc:spChg>
        <pc:spChg chg="add del mod">
          <ac:chgData name="CISNEROS ROJAS, CAMILA GEORGINA" userId="c56cbc2a-55cd-4a0d-b56e-a0bfe880dc94" providerId="ADAL" clId="{BF859A91-FA63-4DC9-AD14-A4569BDBEE57}" dt="2025-03-06T14:56:57.745" v="15703"/>
          <ac:spMkLst>
            <pc:docMk/>
            <pc:sldMk cId="2312190459" sldId="8193"/>
            <ac:spMk id="17" creationId="{5677AD72-A027-6FD3-F2AF-3BCA16FC9C92}"/>
          </ac:spMkLst>
        </pc:spChg>
        <pc:spChg chg="add mod">
          <ac:chgData name="CISNEROS ROJAS, CAMILA GEORGINA" userId="c56cbc2a-55cd-4a0d-b56e-a0bfe880dc94" providerId="ADAL" clId="{BF859A91-FA63-4DC9-AD14-A4569BDBEE57}" dt="2025-03-06T14:58:44.806" v="15837" actId="14100"/>
          <ac:spMkLst>
            <pc:docMk/>
            <pc:sldMk cId="2312190459" sldId="8193"/>
            <ac:spMk id="18" creationId="{5BB4FB32-8C32-3CA6-2DE2-A47453BFB8B3}"/>
          </ac:spMkLst>
        </pc:spChg>
        <pc:spChg chg="add mod">
          <ac:chgData name="CISNEROS ROJAS, CAMILA GEORGINA" userId="c56cbc2a-55cd-4a0d-b56e-a0bfe880dc94" providerId="ADAL" clId="{BF859A91-FA63-4DC9-AD14-A4569BDBEE57}" dt="2025-03-06T14:57:44.267" v="15758" actId="20577"/>
          <ac:spMkLst>
            <pc:docMk/>
            <pc:sldMk cId="2312190459" sldId="8193"/>
            <ac:spMk id="19" creationId="{D0223BA6-087E-6A13-D312-D830CA45AE71}"/>
          </ac:spMkLst>
        </pc:spChg>
        <pc:spChg chg="add mod">
          <ac:chgData name="CISNEROS ROJAS, CAMILA GEORGINA" userId="c56cbc2a-55cd-4a0d-b56e-a0bfe880dc94" providerId="ADAL" clId="{BF859A91-FA63-4DC9-AD14-A4569BDBEE57}" dt="2025-03-06T14:58:05.270" v="15832" actId="20577"/>
          <ac:spMkLst>
            <pc:docMk/>
            <pc:sldMk cId="2312190459" sldId="8193"/>
            <ac:spMk id="20" creationId="{69251829-820E-D776-BD57-6DC4F5792272}"/>
          </ac:spMkLst>
        </pc:spChg>
        <pc:picChg chg="add mod">
          <ac:chgData name="CISNEROS ROJAS, CAMILA GEORGINA" userId="c56cbc2a-55cd-4a0d-b56e-a0bfe880dc94" providerId="ADAL" clId="{BF859A91-FA63-4DC9-AD14-A4569BDBEE57}" dt="2025-03-06T12:58:59.850" v="14222" actId="1076"/>
          <ac:picMkLst>
            <pc:docMk/>
            <pc:sldMk cId="2312190459" sldId="8193"/>
            <ac:picMk id="6" creationId="{927CC2CB-078E-FA91-79E7-6FC99A81DC72}"/>
          </ac:picMkLst>
        </pc:picChg>
      </pc:sldChg>
      <pc:sldChg chg="addSp delSp modSp add mod ord">
        <pc:chgData name="CISNEROS ROJAS, CAMILA GEORGINA" userId="c56cbc2a-55cd-4a0d-b56e-a0bfe880dc94" providerId="ADAL" clId="{BF859A91-FA63-4DC9-AD14-A4569BDBEE57}" dt="2025-03-06T16:04:29.620" v="16573" actId="1076"/>
        <pc:sldMkLst>
          <pc:docMk/>
          <pc:sldMk cId="2495431310" sldId="8194"/>
        </pc:sldMkLst>
        <pc:spChg chg="mod">
          <ac:chgData name="CISNEROS ROJAS, CAMILA GEORGINA" userId="c56cbc2a-55cd-4a0d-b56e-a0bfe880dc94" providerId="ADAL" clId="{BF859A91-FA63-4DC9-AD14-A4569BDBEE57}" dt="2025-03-06T16:01:08.280" v="16430" actId="20577"/>
          <ac:spMkLst>
            <pc:docMk/>
            <pc:sldMk cId="2495431310" sldId="8194"/>
            <ac:spMk id="2" creationId="{1611DA8A-1168-FAF8-030C-B76348422035}"/>
          </ac:spMkLst>
        </pc:spChg>
        <pc:spChg chg="mod">
          <ac:chgData name="CISNEROS ROJAS, CAMILA GEORGINA" userId="c56cbc2a-55cd-4a0d-b56e-a0bfe880dc94" providerId="ADAL" clId="{BF859A91-FA63-4DC9-AD14-A4569BDBEE57}" dt="2025-03-06T16:04:29.620" v="16573" actId="1076"/>
          <ac:spMkLst>
            <pc:docMk/>
            <pc:sldMk cId="2495431310" sldId="8194"/>
            <ac:spMk id="3" creationId="{317F8B6C-1BF2-0A77-4438-107D855B63E5}"/>
          </ac:spMkLst>
        </pc:spChg>
        <pc:spChg chg="add mod">
          <ac:chgData name="CISNEROS ROJAS, CAMILA GEORGINA" userId="c56cbc2a-55cd-4a0d-b56e-a0bfe880dc94" providerId="ADAL" clId="{BF859A91-FA63-4DC9-AD14-A4569BDBEE57}" dt="2025-03-06T16:04:24.506" v="16572" actId="1076"/>
          <ac:spMkLst>
            <pc:docMk/>
            <pc:sldMk cId="2495431310" sldId="8194"/>
            <ac:spMk id="5" creationId="{6A52EF76-3AF0-7DA3-5977-3D6739571193}"/>
          </ac:spMkLst>
        </pc:spChg>
        <pc:spChg chg="add del mod">
          <ac:chgData name="CISNEROS ROJAS, CAMILA GEORGINA" userId="c56cbc2a-55cd-4a0d-b56e-a0bfe880dc94" providerId="ADAL" clId="{BF859A91-FA63-4DC9-AD14-A4569BDBEE57}" dt="2025-03-06T15:05:31.563" v="15913" actId="478"/>
          <ac:spMkLst>
            <pc:docMk/>
            <pc:sldMk cId="2495431310" sldId="8194"/>
            <ac:spMk id="6" creationId="{82B22071-565F-9A1A-CD73-005CD3102295}"/>
          </ac:spMkLst>
        </pc:spChg>
        <pc:spChg chg="del">
          <ac:chgData name="CISNEROS ROJAS, CAMILA GEORGINA" userId="c56cbc2a-55cd-4a0d-b56e-a0bfe880dc94" providerId="ADAL" clId="{BF859A91-FA63-4DC9-AD14-A4569BDBEE57}" dt="2025-03-05T20:32:17.559" v="13376" actId="478"/>
          <ac:spMkLst>
            <pc:docMk/>
            <pc:sldMk cId="2495431310" sldId="8194"/>
            <ac:spMk id="6" creationId="{D8D4E66A-8A23-57E4-27FC-69F180B61CD5}"/>
          </ac:spMkLst>
        </pc:spChg>
        <pc:spChg chg="add del mod">
          <ac:chgData name="CISNEROS ROJAS, CAMILA GEORGINA" userId="c56cbc2a-55cd-4a0d-b56e-a0bfe880dc94" providerId="ADAL" clId="{BF859A91-FA63-4DC9-AD14-A4569BDBEE57}" dt="2025-03-06T15:05:31.563" v="15913" actId="478"/>
          <ac:spMkLst>
            <pc:docMk/>
            <pc:sldMk cId="2495431310" sldId="8194"/>
            <ac:spMk id="7" creationId="{5C1FDB13-2A96-B9AD-02C0-D0E89E0DE731}"/>
          </ac:spMkLst>
        </pc:spChg>
        <pc:spChg chg="del">
          <ac:chgData name="CISNEROS ROJAS, CAMILA GEORGINA" userId="c56cbc2a-55cd-4a0d-b56e-a0bfe880dc94" providerId="ADAL" clId="{BF859A91-FA63-4DC9-AD14-A4569BDBEE57}" dt="2025-03-05T20:31:54.486" v="13272" actId="478"/>
          <ac:spMkLst>
            <pc:docMk/>
            <pc:sldMk cId="2495431310" sldId="8194"/>
            <ac:spMk id="7" creationId="{7F148FB8-EA7A-2022-DDAE-D71457E4B926}"/>
          </ac:spMkLst>
        </pc:spChg>
        <pc:spChg chg="add del mod">
          <ac:chgData name="CISNEROS ROJAS, CAMILA GEORGINA" userId="c56cbc2a-55cd-4a0d-b56e-a0bfe880dc94" providerId="ADAL" clId="{BF859A91-FA63-4DC9-AD14-A4569BDBEE57}" dt="2025-03-06T15:05:31.563" v="15913" actId="478"/>
          <ac:spMkLst>
            <pc:docMk/>
            <pc:sldMk cId="2495431310" sldId="8194"/>
            <ac:spMk id="8" creationId="{7990C3D8-EA8B-AB64-E189-B47DA2354317}"/>
          </ac:spMkLst>
        </pc:spChg>
        <pc:spChg chg="add del mod">
          <ac:chgData name="CISNEROS ROJAS, CAMILA GEORGINA" userId="c56cbc2a-55cd-4a0d-b56e-a0bfe880dc94" providerId="ADAL" clId="{BF859A91-FA63-4DC9-AD14-A4569BDBEE57}" dt="2025-03-06T15:05:31.563" v="15913" actId="478"/>
          <ac:spMkLst>
            <pc:docMk/>
            <pc:sldMk cId="2495431310" sldId="8194"/>
            <ac:spMk id="9" creationId="{2A024C34-40AB-75C8-1B5A-399814CEBE5A}"/>
          </ac:spMkLst>
        </pc:spChg>
        <pc:spChg chg="del">
          <ac:chgData name="CISNEROS ROJAS, CAMILA GEORGINA" userId="c56cbc2a-55cd-4a0d-b56e-a0bfe880dc94" providerId="ADAL" clId="{BF859A91-FA63-4DC9-AD14-A4569BDBEE57}" dt="2025-03-05T20:31:53.414" v="13271" actId="478"/>
          <ac:spMkLst>
            <pc:docMk/>
            <pc:sldMk cId="2495431310" sldId="8194"/>
            <ac:spMk id="9" creationId="{7E9B7CED-CF77-AA17-E2B4-7BE33763CD05}"/>
          </ac:spMkLst>
        </pc:spChg>
        <pc:picChg chg="add del mod">
          <ac:chgData name="CISNEROS ROJAS, CAMILA GEORGINA" userId="c56cbc2a-55cd-4a0d-b56e-a0bfe880dc94" providerId="ADAL" clId="{BF859A91-FA63-4DC9-AD14-A4569BDBEE57}" dt="2025-03-06T15:05:25.233" v="15912" actId="478"/>
          <ac:picMkLst>
            <pc:docMk/>
            <pc:sldMk cId="2495431310" sldId="8194"/>
            <ac:picMk id="4" creationId="{71F839FD-DABC-92FB-0694-DA4FD8AB52B9}"/>
          </ac:picMkLst>
        </pc:picChg>
        <pc:picChg chg="add mod">
          <ac:chgData name="CISNEROS ROJAS, CAMILA GEORGINA" userId="c56cbc2a-55cd-4a0d-b56e-a0bfe880dc94" providerId="ADAL" clId="{BF859A91-FA63-4DC9-AD14-A4569BDBEE57}" dt="2025-03-06T16:04:20.193" v="16571" actId="1076"/>
          <ac:picMkLst>
            <pc:docMk/>
            <pc:sldMk cId="2495431310" sldId="8194"/>
            <ac:picMk id="11" creationId="{6464CA2E-93A6-C74F-D5A5-88EDE3351E29}"/>
          </ac:picMkLst>
        </pc:picChg>
      </pc:sldChg>
      <pc:sldChg chg="modSp add del mod">
        <pc:chgData name="CISNEROS ROJAS, CAMILA GEORGINA" userId="c56cbc2a-55cd-4a0d-b56e-a0bfe880dc94" providerId="ADAL" clId="{BF859A91-FA63-4DC9-AD14-A4569BDBEE57}" dt="2025-03-06T15:09:39.714" v="15926" actId="2696"/>
        <pc:sldMkLst>
          <pc:docMk/>
          <pc:sldMk cId="2359046390" sldId="8195"/>
        </pc:sldMkLst>
        <pc:spChg chg="mod">
          <ac:chgData name="CISNEROS ROJAS, CAMILA GEORGINA" userId="c56cbc2a-55cd-4a0d-b56e-a0bfe880dc94" providerId="ADAL" clId="{BF859A91-FA63-4DC9-AD14-A4569BDBEE57}" dt="2025-03-05T20:44:40.965" v="13461" actId="1076"/>
          <ac:spMkLst>
            <pc:docMk/>
            <pc:sldMk cId="2359046390" sldId="8195"/>
            <ac:spMk id="3" creationId="{716F48C4-6DE0-4994-3F9A-D41226EE0374}"/>
          </ac:spMkLst>
        </pc:spChg>
        <pc:spChg chg="mod">
          <ac:chgData name="CISNEROS ROJAS, CAMILA GEORGINA" userId="c56cbc2a-55cd-4a0d-b56e-a0bfe880dc94" providerId="ADAL" clId="{BF859A91-FA63-4DC9-AD14-A4569BDBEE57}" dt="2025-03-06T13:00:41.132" v="14235" actId="403"/>
          <ac:spMkLst>
            <pc:docMk/>
            <pc:sldMk cId="2359046390" sldId="8195"/>
            <ac:spMk id="5" creationId="{033EDF13-EE1D-D3BE-2753-9D012D9ACCB6}"/>
          </ac:spMkLst>
        </pc:spChg>
        <pc:spChg chg="mod">
          <ac:chgData name="CISNEROS ROJAS, CAMILA GEORGINA" userId="c56cbc2a-55cd-4a0d-b56e-a0bfe880dc94" providerId="ADAL" clId="{BF859A91-FA63-4DC9-AD14-A4569BDBEE57}" dt="2025-03-05T20:44:21.996" v="13454" actId="1036"/>
          <ac:spMkLst>
            <pc:docMk/>
            <pc:sldMk cId="2359046390" sldId="8195"/>
            <ac:spMk id="6" creationId="{A78E36FF-F15B-5EB7-DFE8-76C1426A94F9}"/>
          </ac:spMkLst>
        </pc:spChg>
        <pc:spChg chg="mod">
          <ac:chgData name="CISNEROS ROJAS, CAMILA GEORGINA" userId="c56cbc2a-55cd-4a0d-b56e-a0bfe880dc94" providerId="ADAL" clId="{BF859A91-FA63-4DC9-AD14-A4569BDBEE57}" dt="2025-03-06T13:00:41.132" v="14235" actId="403"/>
          <ac:spMkLst>
            <pc:docMk/>
            <pc:sldMk cId="2359046390" sldId="8195"/>
            <ac:spMk id="7" creationId="{92E2FF60-1727-F8D1-61A3-4FEA3454CA47}"/>
          </ac:spMkLst>
        </pc:spChg>
        <pc:spChg chg="mod">
          <ac:chgData name="CISNEROS ROJAS, CAMILA GEORGINA" userId="c56cbc2a-55cd-4a0d-b56e-a0bfe880dc94" providerId="ADAL" clId="{BF859A91-FA63-4DC9-AD14-A4569BDBEE57}" dt="2025-03-05T20:44:14.324" v="13446" actId="1076"/>
          <ac:spMkLst>
            <pc:docMk/>
            <pc:sldMk cId="2359046390" sldId="8195"/>
            <ac:spMk id="8" creationId="{2C720127-94B9-3C51-E9DD-D96CC992299B}"/>
          </ac:spMkLst>
        </pc:spChg>
        <pc:spChg chg="mod">
          <ac:chgData name="CISNEROS ROJAS, CAMILA GEORGINA" userId="c56cbc2a-55cd-4a0d-b56e-a0bfe880dc94" providerId="ADAL" clId="{BF859A91-FA63-4DC9-AD14-A4569BDBEE57}" dt="2025-03-05T20:44:11.140" v="13445" actId="1076"/>
          <ac:spMkLst>
            <pc:docMk/>
            <pc:sldMk cId="2359046390" sldId="8195"/>
            <ac:spMk id="9" creationId="{C6D342E7-75DC-38FB-D26F-7E3AD2B56B80}"/>
          </ac:spMkLst>
        </pc:spChg>
        <pc:spChg chg="mod">
          <ac:chgData name="CISNEROS ROJAS, CAMILA GEORGINA" userId="c56cbc2a-55cd-4a0d-b56e-a0bfe880dc94" providerId="ADAL" clId="{BF859A91-FA63-4DC9-AD14-A4569BDBEE57}" dt="2025-03-05T20:44:56.292" v="13466" actId="14100"/>
          <ac:spMkLst>
            <pc:docMk/>
            <pc:sldMk cId="2359046390" sldId="8195"/>
            <ac:spMk id="10" creationId="{D4C211DE-379B-74D4-56F3-930AB5158522}"/>
          </ac:spMkLst>
        </pc:spChg>
        <pc:spChg chg="mod">
          <ac:chgData name="CISNEROS ROJAS, CAMILA GEORGINA" userId="c56cbc2a-55cd-4a0d-b56e-a0bfe880dc94" providerId="ADAL" clId="{BF859A91-FA63-4DC9-AD14-A4569BDBEE57}" dt="2025-03-05T20:45:17.780" v="13471" actId="1076"/>
          <ac:spMkLst>
            <pc:docMk/>
            <pc:sldMk cId="2359046390" sldId="8195"/>
            <ac:spMk id="11" creationId="{6DF339CC-B2B0-3E5C-143E-D7FDF93865C9}"/>
          </ac:spMkLst>
        </pc:spChg>
      </pc:sldChg>
      <pc:sldChg chg="addSp delSp modSp add del mod ord">
        <pc:chgData name="CISNEROS ROJAS, CAMILA GEORGINA" userId="c56cbc2a-55cd-4a0d-b56e-a0bfe880dc94" providerId="ADAL" clId="{BF859A91-FA63-4DC9-AD14-A4569BDBEE57}" dt="2025-03-06T15:09:39.714" v="15926" actId="2696"/>
        <pc:sldMkLst>
          <pc:docMk/>
          <pc:sldMk cId="96306112" sldId="8196"/>
        </pc:sldMkLst>
        <pc:spChg chg="del">
          <ac:chgData name="CISNEROS ROJAS, CAMILA GEORGINA" userId="c56cbc2a-55cd-4a0d-b56e-a0bfe880dc94" providerId="ADAL" clId="{BF859A91-FA63-4DC9-AD14-A4569BDBEE57}" dt="2025-03-05T20:40:30.458" v="13389" actId="478"/>
          <ac:spMkLst>
            <pc:docMk/>
            <pc:sldMk cId="96306112" sldId="8196"/>
            <ac:spMk id="3" creationId="{716F48C4-6DE0-4994-3F9A-D41226EE0374}"/>
          </ac:spMkLst>
        </pc:spChg>
        <pc:spChg chg="del">
          <ac:chgData name="CISNEROS ROJAS, CAMILA GEORGINA" userId="c56cbc2a-55cd-4a0d-b56e-a0bfe880dc94" providerId="ADAL" clId="{BF859A91-FA63-4DC9-AD14-A4569BDBEE57}" dt="2025-03-05T20:40:29.005" v="13388" actId="478"/>
          <ac:spMkLst>
            <pc:docMk/>
            <pc:sldMk cId="96306112" sldId="8196"/>
            <ac:spMk id="5" creationId="{033EDF13-EE1D-D3BE-2753-9D012D9ACCB6}"/>
          </ac:spMkLst>
        </pc:spChg>
        <pc:spChg chg="mod">
          <ac:chgData name="CISNEROS ROJAS, CAMILA GEORGINA" userId="c56cbc2a-55cd-4a0d-b56e-a0bfe880dc94" providerId="ADAL" clId="{BF859A91-FA63-4DC9-AD14-A4569BDBEE57}" dt="2025-03-05T20:43:23.593" v="13435" actId="1076"/>
          <ac:spMkLst>
            <pc:docMk/>
            <pc:sldMk cId="96306112" sldId="8196"/>
            <ac:spMk id="6" creationId="{A78E36FF-F15B-5EB7-DFE8-76C1426A94F9}"/>
          </ac:spMkLst>
        </pc:spChg>
        <pc:spChg chg="mod">
          <ac:chgData name="CISNEROS ROJAS, CAMILA GEORGINA" userId="c56cbc2a-55cd-4a0d-b56e-a0bfe880dc94" providerId="ADAL" clId="{BF859A91-FA63-4DC9-AD14-A4569BDBEE57}" dt="2025-03-05T20:43:21.335" v="13434" actId="1076"/>
          <ac:spMkLst>
            <pc:docMk/>
            <pc:sldMk cId="96306112" sldId="8196"/>
            <ac:spMk id="7" creationId="{92E2FF60-1727-F8D1-61A3-4FEA3454CA47}"/>
          </ac:spMkLst>
        </pc:spChg>
        <pc:spChg chg="mod">
          <ac:chgData name="CISNEROS ROJAS, CAMILA GEORGINA" userId="c56cbc2a-55cd-4a0d-b56e-a0bfe880dc94" providerId="ADAL" clId="{BF859A91-FA63-4DC9-AD14-A4569BDBEE57}" dt="2025-03-05T20:43:18.844" v="13433" actId="1076"/>
          <ac:spMkLst>
            <pc:docMk/>
            <pc:sldMk cId="96306112" sldId="8196"/>
            <ac:spMk id="8" creationId="{2C720127-94B9-3C51-E9DD-D96CC992299B}"/>
          </ac:spMkLst>
        </pc:spChg>
        <pc:spChg chg="mod">
          <ac:chgData name="CISNEROS ROJAS, CAMILA GEORGINA" userId="c56cbc2a-55cd-4a0d-b56e-a0bfe880dc94" providerId="ADAL" clId="{BF859A91-FA63-4DC9-AD14-A4569BDBEE57}" dt="2025-03-05T20:43:09.811" v="13430" actId="2711"/>
          <ac:spMkLst>
            <pc:docMk/>
            <pc:sldMk cId="96306112" sldId="8196"/>
            <ac:spMk id="9" creationId="{C6D342E7-75DC-38FB-D26F-7E3AD2B56B80}"/>
          </ac:spMkLst>
        </pc:spChg>
        <pc:spChg chg="del">
          <ac:chgData name="CISNEROS ROJAS, CAMILA GEORGINA" userId="c56cbc2a-55cd-4a0d-b56e-a0bfe880dc94" providerId="ADAL" clId="{BF859A91-FA63-4DC9-AD14-A4569BDBEE57}" dt="2025-03-05T20:40:27.539" v="13387" actId="478"/>
          <ac:spMkLst>
            <pc:docMk/>
            <pc:sldMk cId="96306112" sldId="8196"/>
            <ac:spMk id="10" creationId="{D4C211DE-379B-74D4-56F3-930AB5158522}"/>
          </ac:spMkLst>
        </pc:spChg>
        <pc:spChg chg="del">
          <ac:chgData name="CISNEROS ROJAS, CAMILA GEORGINA" userId="c56cbc2a-55cd-4a0d-b56e-a0bfe880dc94" providerId="ADAL" clId="{BF859A91-FA63-4DC9-AD14-A4569BDBEE57}" dt="2025-03-05T20:40:26.553" v="13386" actId="478"/>
          <ac:spMkLst>
            <pc:docMk/>
            <pc:sldMk cId="96306112" sldId="8196"/>
            <ac:spMk id="11" creationId="{6DF339CC-B2B0-3E5C-143E-D7FDF93865C9}"/>
          </ac:spMkLst>
        </pc:spChg>
        <pc:spChg chg="add del mod">
          <ac:chgData name="CISNEROS ROJAS, CAMILA GEORGINA" userId="c56cbc2a-55cd-4a0d-b56e-a0bfe880dc94" providerId="ADAL" clId="{BF859A91-FA63-4DC9-AD14-A4569BDBEE57}" dt="2025-03-05T20:41:38.090" v="13407" actId="478"/>
          <ac:spMkLst>
            <pc:docMk/>
            <pc:sldMk cId="96306112" sldId="8196"/>
            <ac:spMk id="12" creationId="{51622756-D5F7-742E-4F4B-30D9637DED5C}"/>
          </ac:spMkLst>
        </pc:spChg>
        <pc:spChg chg="add del mod">
          <ac:chgData name="CISNEROS ROJAS, CAMILA GEORGINA" userId="c56cbc2a-55cd-4a0d-b56e-a0bfe880dc94" providerId="ADAL" clId="{BF859A91-FA63-4DC9-AD14-A4569BDBEE57}" dt="2025-03-05T20:42:15.233" v="13417" actId="478"/>
          <ac:spMkLst>
            <pc:docMk/>
            <pc:sldMk cId="96306112" sldId="8196"/>
            <ac:spMk id="13" creationId="{7C31A26D-F325-4FF0-D150-6691690728D4}"/>
          </ac:spMkLst>
        </pc:spChg>
      </pc:sldChg>
      <pc:sldChg chg="modSp add del mod ord">
        <pc:chgData name="CISNEROS ROJAS, CAMILA GEORGINA" userId="c56cbc2a-55cd-4a0d-b56e-a0bfe880dc94" providerId="ADAL" clId="{BF859A91-FA63-4DC9-AD14-A4569BDBEE57}" dt="2025-03-06T15:09:39.714" v="15926" actId="2696"/>
        <pc:sldMkLst>
          <pc:docMk/>
          <pc:sldMk cId="1634584855" sldId="8197"/>
        </pc:sldMkLst>
        <pc:spChg chg="mod">
          <ac:chgData name="CISNEROS ROJAS, CAMILA GEORGINA" userId="c56cbc2a-55cd-4a0d-b56e-a0bfe880dc94" providerId="ADAL" clId="{BF859A91-FA63-4DC9-AD14-A4569BDBEE57}" dt="2025-03-05T20:45:35.069" v="13476" actId="20577"/>
          <ac:spMkLst>
            <pc:docMk/>
            <pc:sldMk cId="1634584855" sldId="8197"/>
            <ac:spMk id="2" creationId="{9E35DCEA-11FB-375E-BA08-3B2B59711278}"/>
          </ac:spMkLst>
        </pc:spChg>
      </pc:sldChg>
      <pc:sldChg chg="delSp modSp add del mod ord">
        <pc:chgData name="CISNEROS ROJAS, CAMILA GEORGINA" userId="c56cbc2a-55cd-4a0d-b56e-a0bfe880dc94" providerId="ADAL" clId="{BF859A91-FA63-4DC9-AD14-A4569BDBEE57}" dt="2025-03-06T15:09:39.714" v="15926" actId="2696"/>
        <pc:sldMkLst>
          <pc:docMk/>
          <pc:sldMk cId="224362522" sldId="8198"/>
        </pc:sldMkLst>
        <pc:spChg chg="mod">
          <ac:chgData name="CISNEROS ROJAS, CAMILA GEORGINA" userId="c56cbc2a-55cd-4a0d-b56e-a0bfe880dc94" providerId="ADAL" clId="{BF859A91-FA63-4DC9-AD14-A4569BDBEE57}" dt="2025-03-05T20:57:51.217" v="13839" actId="14100"/>
          <ac:spMkLst>
            <pc:docMk/>
            <pc:sldMk cId="224362522" sldId="8198"/>
            <ac:spMk id="2" creationId="{D9742CEE-C532-83D6-8C0F-AC15CAEB88CE}"/>
          </ac:spMkLst>
        </pc:spChg>
        <pc:spChg chg="del">
          <ac:chgData name="CISNEROS ROJAS, CAMILA GEORGINA" userId="c56cbc2a-55cd-4a0d-b56e-a0bfe880dc94" providerId="ADAL" clId="{BF859A91-FA63-4DC9-AD14-A4569BDBEE57}" dt="2025-03-05T20:47:36.018" v="13502" actId="478"/>
          <ac:spMkLst>
            <pc:docMk/>
            <pc:sldMk cId="224362522" sldId="8198"/>
            <ac:spMk id="3" creationId="{716F48C4-6DE0-4994-3F9A-D41226EE0374}"/>
          </ac:spMkLst>
        </pc:spChg>
        <pc:spChg chg="mod">
          <ac:chgData name="CISNEROS ROJAS, CAMILA GEORGINA" userId="c56cbc2a-55cd-4a0d-b56e-a0bfe880dc94" providerId="ADAL" clId="{BF859A91-FA63-4DC9-AD14-A4569BDBEE57}" dt="2025-03-05T20:46:15.926" v="13493" actId="20577"/>
          <ac:spMkLst>
            <pc:docMk/>
            <pc:sldMk cId="224362522" sldId="8198"/>
            <ac:spMk id="4" creationId="{2F8DE1E2-9B82-3C2C-5967-F5061A8C6871}"/>
          </ac:spMkLst>
        </pc:spChg>
        <pc:spChg chg="del">
          <ac:chgData name="CISNEROS ROJAS, CAMILA GEORGINA" userId="c56cbc2a-55cd-4a0d-b56e-a0bfe880dc94" providerId="ADAL" clId="{BF859A91-FA63-4DC9-AD14-A4569BDBEE57}" dt="2025-03-05T20:47:32.034" v="13501" actId="478"/>
          <ac:spMkLst>
            <pc:docMk/>
            <pc:sldMk cId="224362522" sldId="8198"/>
            <ac:spMk id="5" creationId="{033EDF13-EE1D-D3BE-2753-9D012D9ACCB6}"/>
          </ac:spMkLst>
        </pc:spChg>
        <pc:spChg chg="mod">
          <ac:chgData name="CISNEROS ROJAS, CAMILA GEORGINA" userId="c56cbc2a-55cd-4a0d-b56e-a0bfe880dc94" providerId="ADAL" clId="{BF859A91-FA63-4DC9-AD14-A4569BDBEE57}" dt="2025-03-05T20:48:58.262" v="13540" actId="1076"/>
          <ac:spMkLst>
            <pc:docMk/>
            <pc:sldMk cId="224362522" sldId="8198"/>
            <ac:spMk id="6" creationId="{A78E36FF-F15B-5EB7-DFE8-76C1426A94F9}"/>
          </ac:spMkLst>
        </pc:spChg>
        <pc:spChg chg="mod">
          <ac:chgData name="CISNEROS ROJAS, CAMILA GEORGINA" userId="c56cbc2a-55cd-4a0d-b56e-a0bfe880dc94" providerId="ADAL" clId="{BF859A91-FA63-4DC9-AD14-A4569BDBEE57}" dt="2025-03-06T13:00:48.565" v="14236" actId="403"/>
          <ac:spMkLst>
            <pc:docMk/>
            <pc:sldMk cId="224362522" sldId="8198"/>
            <ac:spMk id="7" creationId="{92E2FF60-1727-F8D1-61A3-4FEA3454CA47}"/>
          </ac:spMkLst>
        </pc:spChg>
        <pc:spChg chg="mod">
          <ac:chgData name="CISNEROS ROJAS, CAMILA GEORGINA" userId="c56cbc2a-55cd-4a0d-b56e-a0bfe880dc94" providerId="ADAL" clId="{BF859A91-FA63-4DC9-AD14-A4569BDBEE57}" dt="2025-03-05T20:47:52.251" v="13506" actId="1076"/>
          <ac:spMkLst>
            <pc:docMk/>
            <pc:sldMk cId="224362522" sldId="8198"/>
            <ac:spMk id="8" creationId="{2C720127-94B9-3C51-E9DD-D96CC992299B}"/>
          </ac:spMkLst>
        </pc:spChg>
        <pc:spChg chg="mod">
          <ac:chgData name="CISNEROS ROJAS, CAMILA GEORGINA" userId="c56cbc2a-55cd-4a0d-b56e-a0bfe880dc94" providerId="ADAL" clId="{BF859A91-FA63-4DC9-AD14-A4569BDBEE57}" dt="2025-03-05T20:48:49.392" v="13537" actId="1076"/>
          <ac:spMkLst>
            <pc:docMk/>
            <pc:sldMk cId="224362522" sldId="8198"/>
            <ac:spMk id="9" creationId="{C6D342E7-75DC-38FB-D26F-7E3AD2B56B80}"/>
          </ac:spMkLst>
        </pc:spChg>
        <pc:spChg chg="del">
          <ac:chgData name="CISNEROS ROJAS, CAMILA GEORGINA" userId="c56cbc2a-55cd-4a0d-b56e-a0bfe880dc94" providerId="ADAL" clId="{BF859A91-FA63-4DC9-AD14-A4569BDBEE57}" dt="2025-03-05T20:47:28.867" v="13499" actId="478"/>
          <ac:spMkLst>
            <pc:docMk/>
            <pc:sldMk cId="224362522" sldId="8198"/>
            <ac:spMk id="10" creationId="{D4C211DE-379B-74D4-56F3-930AB5158522}"/>
          </ac:spMkLst>
        </pc:spChg>
        <pc:spChg chg="del">
          <ac:chgData name="CISNEROS ROJAS, CAMILA GEORGINA" userId="c56cbc2a-55cd-4a0d-b56e-a0bfe880dc94" providerId="ADAL" clId="{BF859A91-FA63-4DC9-AD14-A4569BDBEE57}" dt="2025-03-05T20:47:30.211" v="13500" actId="478"/>
          <ac:spMkLst>
            <pc:docMk/>
            <pc:sldMk cId="224362522" sldId="8198"/>
            <ac:spMk id="11" creationId="{6DF339CC-B2B0-3E5C-143E-D7FDF93865C9}"/>
          </ac:spMkLst>
        </pc:spChg>
      </pc:sldChg>
      <pc:sldChg chg="addSp delSp modSp add del mod">
        <pc:chgData name="CISNEROS ROJAS, CAMILA GEORGINA" userId="c56cbc2a-55cd-4a0d-b56e-a0bfe880dc94" providerId="ADAL" clId="{BF859A91-FA63-4DC9-AD14-A4569BDBEE57}" dt="2025-03-06T15:09:39.714" v="15926" actId="2696"/>
        <pc:sldMkLst>
          <pc:docMk/>
          <pc:sldMk cId="2230350583" sldId="8199"/>
        </pc:sldMkLst>
        <pc:spChg chg="del">
          <ac:chgData name="CISNEROS ROJAS, CAMILA GEORGINA" userId="c56cbc2a-55cd-4a0d-b56e-a0bfe880dc94" providerId="ADAL" clId="{BF859A91-FA63-4DC9-AD14-A4569BDBEE57}" dt="2025-03-05T20:56:58.661" v="13826" actId="478"/>
          <ac:spMkLst>
            <pc:docMk/>
            <pc:sldMk cId="2230350583" sldId="8199"/>
            <ac:spMk id="2" creationId="{D9742CEE-C532-83D6-8C0F-AC15CAEB88CE}"/>
          </ac:spMkLst>
        </pc:spChg>
        <pc:spChg chg="add del mod">
          <ac:chgData name="CISNEROS ROJAS, CAMILA GEORGINA" userId="c56cbc2a-55cd-4a0d-b56e-a0bfe880dc94" providerId="ADAL" clId="{BF859A91-FA63-4DC9-AD14-A4569BDBEE57}" dt="2025-03-05T20:57:02.439" v="13828" actId="478"/>
          <ac:spMkLst>
            <pc:docMk/>
            <pc:sldMk cId="2230350583" sldId="8199"/>
            <ac:spMk id="5" creationId="{C1175D33-CE54-961F-D16C-3D15DC61A533}"/>
          </ac:spMkLst>
        </pc:spChg>
        <pc:spChg chg="mod">
          <ac:chgData name="CISNEROS ROJAS, CAMILA GEORGINA" userId="c56cbc2a-55cd-4a0d-b56e-a0bfe880dc94" providerId="ADAL" clId="{BF859A91-FA63-4DC9-AD14-A4569BDBEE57}" dt="2025-03-05T20:50:51.114" v="13615" actId="1076"/>
          <ac:spMkLst>
            <pc:docMk/>
            <pc:sldMk cId="2230350583" sldId="8199"/>
            <ac:spMk id="6" creationId="{A78E36FF-F15B-5EB7-DFE8-76C1426A94F9}"/>
          </ac:spMkLst>
        </pc:spChg>
        <pc:spChg chg="mod">
          <ac:chgData name="CISNEROS ROJAS, CAMILA GEORGINA" userId="c56cbc2a-55cd-4a0d-b56e-a0bfe880dc94" providerId="ADAL" clId="{BF859A91-FA63-4DC9-AD14-A4569BDBEE57}" dt="2025-03-05T20:50:53.130" v="13616" actId="1076"/>
          <ac:spMkLst>
            <pc:docMk/>
            <pc:sldMk cId="2230350583" sldId="8199"/>
            <ac:spMk id="7" creationId="{92E2FF60-1727-F8D1-61A3-4FEA3454CA47}"/>
          </ac:spMkLst>
        </pc:spChg>
        <pc:spChg chg="mod">
          <ac:chgData name="CISNEROS ROJAS, CAMILA GEORGINA" userId="c56cbc2a-55cd-4a0d-b56e-a0bfe880dc94" providerId="ADAL" clId="{BF859A91-FA63-4DC9-AD14-A4569BDBEE57}" dt="2025-03-05T20:50:57.516" v="13618" actId="1076"/>
          <ac:spMkLst>
            <pc:docMk/>
            <pc:sldMk cId="2230350583" sldId="8199"/>
            <ac:spMk id="8" creationId="{2C720127-94B9-3C51-E9DD-D96CC992299B}"/>
          </ac:spMkLst>
        </pc:spChg>
        <pc:spChg chg="mod">
          <ac:chgData name="CISNEROS ROJAS, CAMILA GEORGINA" userId="c56cbc2a-55cd-4a0d-b56e-a0bfe880dc94" providerId="ADAL" clId="{BF859A91-FA63-4DC9-AD14-A4569BDBEE57}" dt="2025-03-05T20:51:06.748" v="13621" actId="1076"/>
          <ac:spMkLst>
            <pc:docMk/>
            <pc:sldMk cId="2230350583" sldId="8199"/>
            <ac:spMk id="9" creationId="{C6D342E7-75DC-38FB-D26F-7E3AD2B56B80}"/>
          </ac:spMkLst>
        </pc:spChg>
        <pc:spChg chg="add mod">
          <ac:chgData name="CISNEROS ROJAS, CAMILA GEORGINA" userId="c56cbc2a-55cd-4a0d-b56e-a0bfe880dc94" providerId="ADAL" clId="{BF859A91-FA63-4DC9-AD14-A4569BDBEE57}" dt="2025-03-05T20:57:35.201" v="13835" actId="14100"/>
          <ac:spMkLst>
            <pc:docMk/>
            <pc:sldMk cId="2230350583" sldId="8199"/>
            <ac:spMk id="10" creationId="{0C0178FF-037A-C9EF-B94F-9D771268A2E5}"/>
          </ac:spMkLst>
        </pc:spChg>
      </pc:sldChg>
      <pc:sldChg chg="modSp add del mod">
        <pc:chgData name="CISNEROS ROJAS, CAMILA GEORGINA" userId="c56cbc2a-55cd-4a0d-b56e-a0bfe880dc94" providerId="ADAL" clId="{BF859A91-FA63-4DC9-AD14-A4569BDBEE57}" dt="2025-03-06T15:09:39.714" v="15926" actId="2696"/>
        <pc:sldMkLst>
          <pc:docMk/>
          <pc:sldMk cId="1382284844" sldId="8200"/>
        </pc:sldMkLst>
        <pc:spChg chg="mod">
          <ac:chgData name="CISNEROS ROJAS, CAMILA GEORGINA" userId="c56cbc2a-55cd-4a0d-b56e-a0bfe880dc94" providerId="ADAL" clId="{BF859A91-FA63-4DC9-AD14-A4569BDBEE57}" dt="2025-03-05T20:57:44.450" v="13837" actId="14100"/>
          <ac:spMkLst>
            <pc:docMk/>
            <pc:sldMk cId="1382284844" sldId="8200"/>
            <ac:spMk id="2" creationId="{D9742CEE-C532-83D6-8C0F-AC15CAEB88CE}"/>
          </ac:spMkLst>
        </pc:spChg>
        <pc:spChg chg="mod">
          <ac:chgData name="CISNEROS ROJAS, CAMILA GEORGINA" userId="c56cbc2a-55cd-4a0d-b56e-a0bfe880dc94" providerId="ADAL" clId="{BF859A91-FA63-4DC9-AD14-A4569BDBEE57}" dt="2025-03-05T20:51:30.354" v="13636" actId="20577"/>
          <ac:spMkLst>
            <pc:docMk/>
            <pc:sldMk cId="1382284844" sldId="8200"/>
            <ac:spMk id="6" creationId="{A78E36FF-F15B-5EB7-DFE8-76C1426A94F9}"/>
          </ac:spMkLst>
        </pc:spChg>
        <pc:spChg chg="mod">
          <ac:chgData name="CISNEROS ROJAS, CAMILA GEORGINA" userId="c56cbc2a-55cd-4a0d-b56e-a0bfe880dc94" providerId="ADAL" clId="{BF859A91-FA63-4DC9-AD14-A4569BDBEE57}" dt="2025-03-06T13:01:04.796" v="14239" actId="403"/>
          <ac:spMkLst>
            <pc:docMk/>
            <pc:sldMk cId="1382284844" sldId="8200"/>
            <ac:spMk id="7" creationId="{92E2FF60-1727-F8D1-61A3-4FEA3454CA47}"/>
          </ac:spMkLst>
        </pc:spChg>
        <pc:spChg chg="mod">
          <ac:chgData name="CISNEROS ROJAS, CAMILA GEORGINA" userId="c56cbc2a-55cd-4a0d-b56e-a0bfe880dc94" providerId="ADAL" clId="{BF859A91-FA63-4DC9-AD14-A4569BDBEE57}" dt="2025-03-05T20:52:03.948" v="13643" actId="1076"/>
          <ac:spMkLst>
            <pc:docMk/>
            <pc:sldMk cId="1382284844" sldId="8200"/>
            <ac:spMk id="8" creationId="{2C720127-94B9-3C51-E9DD-D96CC992299B}"/>
          </ac:spMkLst>
        </pc:spChg>
        <pc:spChg chg="mod">
          <ac:chgData name="CISNEROS ROJAS, CAMILA GEORGINA" userId="c56cbc2a-55cd-4a0d-b56e-a0bfe880dc94" providerId="ADAL" clId="{BF859A91-FA63-4DC9-AD14-A4569BDBEE57}" dt="2025-03-05T20:52:50.056" v="13675" actId="1076"/>
          <ac:spMkLst>
            <pc:docMk/>
            <pc:sldMk cId="1382284844" sldId="8200"/>
            <ac:spMk id="9" creationId="{C6D342E7-75DC-38FB-D26F-7E3AD2B56B80}"/>
          </ac:spMkLst>
        </pc:spChg>
      </pc:sldChg>
      <pc:sldChg chg="modSp add del mod">
        <pc:chgData name="CISNEROS ROJAS, CAMILA GEORGINA" userId="c56cbc2a-55cd-4a0d-b56e-a0bfe880dc94" providerId="ADAL" clId="{BF859A91-FA63-4DC9-AD14-A4569BDBEE57}" dt="2025-03-06T15:09:39.714" v="15926" actId="2696"/>
        <pc:sldMkLst>
          <pc:docMk/>
          <pc:sldMk cId="1709626451" sldId="8201"/>
        </pc:sldMkLst>
        <pc:spChg chg="mod">
          <ac:chgData name="CISNEROS ROJAS, CAMILA GEORGINA" userId="c56cbc2a-55cd-4a0d-b56e-a0bfe880dc94" providerId="ADAL" clId="{BF859A91-FA63-4DC9-AD14-A4569BDBEE57}" dt="2025-03-05T20:57:57.376" v="13840" actId="255"/>
          <ac:spMkLst>
            <pc:docMk/>
            <pc:sldMk cId="1709626451" sldId="8201"/>
            <ac:spMk id="2" creationId="{D9742CEE-C532-83D6-8C0F-AC15CAEB88CE}"/>
          </ac:spMkLst>
        </pc:spChg>
        <pc:spChg chg="mod">
          <ac:chgData name="CISNEROS ROJAS, CAMILA GEORGINA" userId="c56cbc2a-55cd-4a0d-b56e-a0bfe880dc94" providerId="ADAL" clId="{BF859A91-FA63-4DC9-AD14-A4569BDBEE57}" dt="2025-03-05T20:53:04.376" v="13678" actId="20577"/>
          <ac:spMkLst>
            <pc:docMk/>
            <pc:sldMk cId="1709626451" sldId="8201"/>
            <ac:spMk id="6" creationId="{A78E36FF-F15B-5EB7-DFE8-76C1426A94F9}"/>
          </ac:spMkLst>
        </pc:spChg>
        <pc:spChg chg="mod">
          <ac:chgData name="CISNEROS ROJAS, CAMILA GEORGINA" userId="c56cbc2a-55cd-4a0d-b56e-a0bfe880dc94" providerId="ADAL" clId="{BF859A91-FA63-4DC9-AD14-A4569BDBEE57}" dt="2025-03-06T13:01:09.069" v="14241" actId="403"/>
          <ac:spMkLst>
            <pc:docMk/>
            <pc:sldMk cId="1709626451" sldId="8201"/>
            <ac:spMk id="7" creationId="{92E2FF60-1727-F8D1-61A3-4FEA3454CA47}"/>
          </ac:spMkLst>
        </pc:spChg>
        <pc:spChg chg="mod">
          <ac:chgData name="CISNEROS ROJAS, CAMILA GEORGINA" userId="c56cbc2a-55cd-4a0d-b56e-a0bfe880dc94" providerId="ADAL" clId="{BF859A91-FA63-4DC9-AD14-A4569BDBEE57}" dt="2025-03-05T20:54:25.023" v="13718" actId="1076"/>
          <ac:spMkLst>
            <pc:docMk/>
            <pc:sldMk cId="1709626451" sldId="8201"/>
            <ac:spMk id="8" creationId="{2C720127-94B9-3C51-E9DD-D96CC992299B}"/>
          </ac:spMkLst>
        </pc:spChg>
        <pc:spChg chg="mod">
          <ac:chgData name="CISNEROS ROJAS, CAMILA GEORGINA" userId="c56cbc2a-55cd-4a0d-b56e-a0bfe880dc94" providerId="ADAL" clId="{BF859A91-FA63-4DC9-AD14-A4569BDBEE57}" dt="2025-03-05T20:54:20.879" v="13716" actId="1076"/>
          <ac:spMkLst>
            <pc:docMk/>
            <pc:sldMk cId="1709626451" sldId="8201"/>
            <ac:spMk id="9" creationId="{C6D342E7-75DC-38FB-D26F-7E3AD2B56B80}"/>
          </ac:spMkLst>
        </pc:spChg>
      </pc:sldChg>
      <pc:sldChg chg="modSp add del mod">
        <pc:chgData name="CISNEROS ROJAS, CAMILA GEORGINA" userId="c56cbc2a-55cd-4a0d-b56e-a0bfe880dc94" providerId="ADAL" clId="{BF859A91-FA63-4DC9-AD14-A4569BDBEE57}" dt="2025-03-06T15:09:39.714" v="15926" actId="2696"/>
        <pc:sldMkLst>
          <pc:docMk/>
          <pc:sldMk cId="507118354" sldId="8202"/>
        </pc:sldMkLst>
        <pc:spChg chg="mod">
          <ac:chgData name="CISNEROS ROJAS, CAMILA GEORGINA" userId="c56cbc2a-55cd-4a0d-b56e-a0bfe880dc94" providerId="ADAL" clId="{BF859A91-FA63-4DC9-AD14-A4569BDBEE57}" dt="2025-03-05T20:58:08.690" v="13843" actId="14100"/>
          <ac:spMkLst>
            <pc:docMk/>
            <pc:sldMk cId="507118354" sldId="8202"/>
            <ac:spMk id="2" creationId="{D9742CEE-C532-83D6-8C0F-AC15CAEB88CE}"/>
          </ac:spMkLst>
        </pc:spChg>
        <pc:spChg chg="mod">
          <ac:chgData name="CISNEROS ROJAS, CAMILA GEORGINA" userId="c56cbc2a-55cd-4a0d-b56e-a0bfe880dc94" providerId="ADAL" clId="{BF859A91-FA63-4DC9-AD14-A4569BDBEE57}" dt="2025-03-05T20:55:59.255" v="13778" actId="1076"/>
          <ac:spMkLst>
            <pc:docMk/>
            <pc:sldMk cId="507118354" sldId="8202"/>
            <ac:spMk id="6" creationId="{A78E36FF-F15B-5EB7-DFE8-76C1426A94F9}"/>
          </ac:spMkLst>
        </pc:spChg>
        <pc:spChg chg="mod">
          <ac:chgData name="CISNEROS ROJAS, CAMILA GEORGINA" userId="c56cbc2a-55cd-4a0d-b56e-a0bfe880dc94" providerId="ADAL" clId="{BF859A91-FA63-4DC9-AD14-A4569BDBEE57}" dt="2025-03-06T13:01:13.508" v="14242" actId="403"/>
          <ac:spMkLst>
            <pc:docMk/>
            <pc:sldMk cId="507118354" sldId="8202"/>
            <ac:spMk id="7" creationId="{92E2FF60-1727-F8D1-61A3-4FEA3454CA47}"/>
          </ac:spMkLst>
        </pc:spChg>
        <pc:spChg chg="mod">
          <ac:chgData name="CISNEROS ROJAS, CAMILA GEORGINA" userId="c56cbc2a-55cd-4a0d-b56e-a0bfe880dc94" providerId="ADAL" clId="{BF859A91-FA63-4DC9-AD14-A4569BDBEE57}" dt="2025-03-05T20:55:16.328" v="13753" actId="1076"/>
          <ac:spMkLst>
            <pc:docMk/>
            <pc:sldMk cId="507118354" sldId="8202"/>
            <ac:spMk id="8" creationId="{2C720127-94B9-3C51-E9DD-D96CC992299B}"/>
          </ac:spMkLst>
        </pc:spChg>
        <pc:spChg chg="mod">
          <ac:chgData name="CISNEROS ROJAS, CAMILA GEORGINA" userId="c56cbc2a-55cd-4a0d-b56e-a0bfe880dc94" providerId="ADAL" clId="{BF859A91-FA63-4DC9-AD14-A4569BDBEE57}" dt="2025-03-05T20:55:52.528" v="13776" actId="1076"/>
          <ac:spMkLst>
            <pc:docMk/>
            <pc:sldMk cId="507118354" sldId="8202"/>
            <ac:spMk id="9" creationId="{C6D342E7-75DC-38FB-D26F-7E3AD2B56B80}"/>
          </ac:spMkLst>
        </pc:spChg>
      </pc:sldChg>
      <pc:sldChg chg="modSp add del mod">
        <pc:chgData name="CISNEROS ROJAS, CAMILA GEORGINA" userId="c56cbc2a-55cd-4a0d-b56e-a0bfe880dc94" providerId="ADAL" clId="{BF859A91-FA63-4DC9-AD14-A4569BDBEE57}" dt="2025-03-06T15:09:39.714" v="15926" actId="2696"/>
        <pc:sldMkLst>
          <pc:docMk/>
          <pc:sldMk cId="3479867692" sldId="8203"/>
        </pc:sldMkLst>
        <pc:spChg chg="mod">
          <ac:chgData name="CISNEROS ROJAS, CAMILA GEORGINA" userId="c56cbc2a-55cd-4a0d-b56e-a0bfe880dc94" providerId="ADAL" clId="{BF859A91-FA63-4DC9-AD14-A4569BDBEE57}" dt="2025-03-05T20:58:19.269" v="13847" actId="255"/>
          <ac:spMkLst>
            <pc:docMk/>
            <pc:sldMk cId="3479867692" sldId="8203"/>
            <ac:spMk id="2" creationId="{D9742CEE-C532-83D6-8C0F-AC15CAEB88CE}"/>
          </ac:spMkLst>
        </pc:spChg>
        <pc:spChg chg="mod">
          <ac:chgData name="CISNEROS ROJAS, CAMILA GEORGINA" userId="c56cbc2a-55cd-4a0d-b56e-a0bfe880dc94" providerId="ADAL" clId="{BF859A91-FA63-4DC9-AD14-A4569BDBEE57}" dt="2025-03-06T13:01:18.215" v="14243" actId="403"/>
          <ac:spMkLst>
            <pc:docMk/>
            <pc:sldMk cId="3479867692" sldId="8203"/>
            <ac:spMk id="7" creationId="{92E2FF60-1727-F8D1-61A3-4FEA3454CA47}"/>
          </ac:spMkLst>
        </pc:spChg>
      </pc:sldChg>
      <pc:sldChg chg="modSp add del mod">
        <pc:chgData name="CISNEROS ROJAS, CAMILA GEORGINA" userId="c56cbc2a-55cd-4a0d-b56e-a0bfe880dc94" providerId="ADAL" clId="{BF859A91-FA63-4DC9-AD14-A4569BDBEE57}" dt="2025-03-06T15:09:39.714" v="15926" actId="2696"/>
        <pc:sldMkLst>
          <pc:docMk/>
          <pc:sldMk cId="3057672442" sldId="8204"/>
        </pc:sldMkLst>
        <pc:spChg chg="mod">
          <ac:chgData name="CISNEROS ROJAS, CAMILA GEORGINA" userId="c56cbc2a-55cd-4a0d-b56e-a0bfe880dc94" providerId="ADAL" clId="{BF859A91-FA63-4DC9-AD14-A4569BDBEE57}" dt="2025-03-05T20:58:45.419" v="13895" actId="20577"/>
          <ac:spMkLst>
            <pc:docMk/>
            <pc:sldMk cId="3057672442" sldId="8204"/>
            <ac:spMk id="2" creationId="{D9742CEE-C532-83D6-8C0F-AC15CAEB88CE}"/>
          </ac:spMkLst>
        </pc:spChg>
        <pc:spChg chg="mod">
          <ac:chgData name="CISNEROS ROJAS, CAMILA GEORGINA" userId="c56cbc2a-55cd-4a0d-b56e-a0bfe880dc94" providerId="ADAL" clId="{BF859A91-FA63-4DC9-AD14-A4569BDBEE57}" dt="2025-03-05T20:58:58.253" v="13909" actId="20577"/>
          <ac:spMkLst>
            <pc:docMk/>
            <pc:sldMk cId="3057672442" sldId="8204"/>
            <ac:spMk id="6" creationId="{A78E36FF-F15B-5EB7-DFE8-76C1426A94F9}"/>
          </ac:spMkLst>
        </pc:spChg>
        <pc:spChg chg="mod">
          <ac:chgData name="CISNEROS ROJAS, CAMILA GEORGINA" userId="c56cbc2a-55cd-4a0d-b56e-a0bfe880dc94" providerId="ADAL" clId="{BF859A91-FA63-4DC9-AD14-A4569BDBEE57}" dt="2025-03-06T13:01:22.702" v="14244" actId="403"/>
          <ac:spMkLst>
            <pc:docMk/>
            <pc:sldMk cId="3057672442" sldId="8204"/>
            <ac:spMk id="7" creationId="{92E2FF60-1727-F8D1-61A3-4FEA3454CA47}"/>
          </ac:spMkLst>
        </pc:spChg>
        <pc:spChg chg="mod">
          <ac:chgData name="CISNEROS ROJAS, CAMILA GEORGINA" userId="c56cbc2a-55cd-4a0d-b56e-a0bfe880dc94" providerId="ADAL" clId="{BF859A91-FA63-4DC9-AD14-A4569BDBEE57}" dt="2025-03-05T20:59:21.200" v="13913" actId="2711"/>
          <ac:spMkLst>
            <pc:docMk/>
            <pc:sldMk cId="3057672442" sldId="8204"/>
            <ac:spMk id="8" creationId="{2C720127-94B9-3C51-E9DD-D96CC992299B}"/>
          </ac:spMkLst>
        </pc:spChg>
        <pc:spChg chg="mod">
          <ac:chgData name="CISNEROS ROJAS, CAMILA GEORGINA" userId="c56cbc2a-55cd-4a0d-b56e-a0bfe880dc94" providerId="ADAL" clId="{BF859A91-FA63-4DC9-AD14-A4569BDBEE57}" dt="2025-03-05T20:59:51.753" v="13932" actId="1076"/>
          <ac:spMkLst>
            <pc:docMk/>
            <pc:sldMk cId="3057672442" sldId="8204"/>
            <ac:spMk id="9" creationId="{C6D342E7-75DC-38FB-D26F-7E3AD2B56B80}"/>
          </ac:spMkLst>
        </pc:spChg>
      </pc:sldChg>
      <pc:sldChg chg="modSp add del mod ord">
        <pc:chgData name="CISNEROS ROJAS, CAMILA GEORGINA" userId="c56cbc2a-55cd-4a0d-b56e-a0bfe880dc94" providerId="ADAL" clId="{BF859A91-FA63-4DC9-AD14-A4569BDBEE57}" dt="2025-03-06T15:09:39.714" v="15926" actId="2696"/>
        <pc:sldMkLst>
          <pc:docMk/>
          <pc:sldMk cId="2965659717" sldId="8205"/>
        </pc:sldMkLst>
        <pc:spChg chg="mod">
          <ac:chgData name="CISNEROS ROJAS, CAMILA GEORGINA" userId="c56cbc2a-55cd-4a0d-b56e-a0bfe880dc94" providerId="ADAL" clId="{BF859A91-FA63-4DC9-AD14-A4569BDBEE57}" dt="2025-03-05T21:00:12.294" v="13939" actId="20577"/>
          <ac:spMkLst>
            <pc:docMk/>
            <pc:sldMk cId="2965659717" sldId="8205"/>
            <ac:spMk id="2" creationId="{9E35DCEA-11FB-375E-BA08-3B2B59711278}"/>
          </ac:spMkLst>
        </pc:spChg>
      </pc:sldChg>
      <pc:sldChg chg="modSp add del mod">
        <pc:chgData name="CISNEROS ROJAS, CAMILA GEORGINA" userId="c56cbc2a-55cd-4a0d-b56e-a0bfe880dc94" providerId="ADAL" clId="{BF859A91-FA63-4DC9-AD14-A4569BDBEE57}" dt="2025-03-06T15:09:39.714" v="15926" actId="2696"/>
        <pc:sldMkLst>
          <pc:docMk/>
          <pc:sldMk cId="1391785975" sldId="8206"/>
        </pc:sldMkLst>
        <pc:spChg chg="mod">
          <ac:chgData name="CISNEROS ROJAS, CAMILA GEORGINA" userId="c56cbc2a-55cd-4a0d-b56e-a0bfe880dc94" providerId="ADAL" clId="{BF859A91-FA63-4DC9-AD14-A4569BDBEE57}" dt="2025-03-05T21:01:11.136" v="13942" actId="20577"/>
          <ac:spMkLst>
            <pc:docMk/>
            <pc:sldMk cId="1391785975" sldId="8206"/>
            <ac:spMk id="2" creationId="{9E35DCEA-11FB-375E-BA08-3B2B59711278}"/>
          </ac:spMkLst>
        </pc:spChg>
      </pc:sldChg>
      <pc:sldChg chg="delSp modSp add del mod ord">
        <pc:chgData name="CISNEROS ROJAS, CAMILA GEORGINA" userId="c56cbc2a-55cd-4a0d-b56e-a0bfe880dc94" providerId="ADAL" clId="{BF859A91-FA63-4DC9-AD14-A4569BDBEE57}" dt="2025-03-06T15:09:39.714" v="15926" actId="2696"/>
        <pc:sldMkLst>
          <pc:docMk/>
          <pc:sldMk cId="1312435088" sldId="8207"/>
        </pc:sldMkLst>
        <pc:spChg chg="del">
          <ac:chgData name="CISNEROS ROJAS, CAMILA GEORGINA" userId="c56cbc2a-55cd-4a0d-b56e-a0bfe880dc94" providerId="ADAL" clId="{BF859A91-FA63-4DC9-AD14-A4569BDBEE57}" dt="2025-03-05T21:01:55.127" v="13972" actId="478"/>
          <ac:spMkLst>
            <pc:docMk/>
            <pc:sldMk cId="1312435088" sldId="8207"/>
            <ac:spMk id="3" creationId="{716F48C4-6DE0-4994-3F9A-D41226EE0374}"/>
          </ac:spMkLst>
        </pc:spChg>
        <pc:spChg chg="mod">
          <ac:chgData name="CISNEROS ROJAS, CAMILA GEORGINA" userId="c56cbc2a-55cd-4a0d-b56e-a0bfe880dc94" providerId="ADAL" clId="{BF859A91-FA63-4DC9-AD14-A4569BDBEE57}" dt="2025-03-05T21:01:46.576" v="13969" actId="20577"/>
          <ac:spMkLst>
            <pc:docMk/>
            <pc:sldMk cId="1312435088" sldId="8207"/>
            <ac:spMk id="4" creationId="{2F8DE1E2-9B82-3C2C-5967-F5061A8C6871}"/>
          </ac:spMkLst>
        </pc:spChg>
        <pc:spChg chg="mod">
          <ac:chgData name="CISNEROS ROJAS, CAMILA GEORGINA" userId="c56cbc2a-55cd-4a0d-b56e-a0bfe880dc94" providerId="ADAL" clId="{BF859A91-FA63-4DC9-AD14-A4569BDBEE57}" dt="2025-03-05T21:02:47.802" v="13993" actId="1076"/>
          <ac:spMkLst>
            <pc:docMk/>
            <pc:sldMk cId="1312435088" sldId="8207"/>
            <ac:spMk id="5" creationId="{033EDF13-EE1D-D3BE-2753-9D012D9ACCB6}"/>
          </ac:spMkLst>
        </pc:spChg>
        <pc:spChg chg="del">
          <ac:chgData name="CISNEROS ROJAS, CAMILA GEORGINA" userId="c56cbc2a-55cd-4a0d-b56e-a0bfe880dc94" providerId="ADAL" clId="{BF859A91-FA63-4DC9-AD14-A4569BDBEE57}" dt="2025-03-05T21:01:51.799" v="13970" actId="478"/>
          <ac:spMkLst>
            <pc:docMk/>
            <pc:sldMk cId="1312435088" sldId="8207"/>
            <ac:spMk id="6" creationId="{A78E36FF-F15B-5EB7-DFE8-76C1426A94F9}"/>
          </ac:spMkLst>
        </pc:spChg>
        <pc:spChg chg="mod">
          <ac:chgData name="CISNEROS ROJAS, CAMILA GEORGINA" userId="c56cbc2a-55cd-4a0d-b56e-a0bfe880dc94" providerId="ADAL" clId="{BF859A91-FA63-4DC9-AD14-A4569BDBEE57}" dt="2025-03-05T21:02:50.067" v="13994" actId="1076"/>
          <ac:spMkLst>
            <pc:docMk/>
            <pc:sldMk cId="1312435088" sldId="8207"/>
            <ac:spMk id="7" creationId="{92E2FF60-1727-F8D1-61A3-4FEA3454CA47}"/>
          </ac:spMkLst>
        </pc:spChg>
        <pc:spChg chg="del">
          <ac:chgData name="CISNEROS ROJAS, CAMILA GEORGINA" userId="c56cbc2a-55cd-4a0d-b56e-a0bfe880dc94" providerId="ADAL" clId="{BF859A91-FA63-4DC9-AD14-A4569BDBEE57}" dt="2025-03-05T21:01:52.855" v="13971" actId="478"/>
          <ac:spMkLst>
            <pc:docMk/>
            <pc:sldMk cId="1312435088" sldId="8207"/>
            <ac:spMk id="8" creationId="{2C720127-94B9-3C51-E9DD-D96CC992299B}"/>
          </ac:spMkLst>
        </pc:spChg>
        <pc:spChg chg="del">
          <ac:chgData name="CISNEROS ROJAS, CAMILA GEORGINA" userId="c56cbc2a-55cd-4a0d-b56e-a0bfe880dc94" providerId="ADAL" clId="{BF859A91-FA63-4DC9-AD14-A4569BDBEE57}" dt="2025-03-05T21:01:59.090" v="13975" actId="478"/>
          <ac:spMkLst>
            <pc:docMk/>
            <pc:sldMk cId="1312435088" sldId="8207"/>
            <ac:spMk id="9" creationId="{C6D342E7-75DC-38FB-D26F-7E3AD2B56B80}"/>
          </ac:spMkLst>
        </pc:spChg>
        <pc:spChg chg="del">
          <ac:chgData name="CISNEROS ROJAS, CAMILA GEORGINA" userId="c56cbc2a-55cd-4a0d-b56e-a0bfe880dc94" providerId="ADAL" clId="{BF859A91-FA63-4DC9-AD14-A4569BDBEE57}" dt="2025-03-05T21:01:55.994" v="13973" actId="478"/>
          <ac:spMkLst>
            <pc:docMk/>
            <pc:sldMk cId="1312435088" sldId="8207"/>
            <ac:spMk id="10" creationId="{D4C211DE-379B-74D4-56F3-930AB5158522}"/>
          </ac:spMkLst>
        </pc:spChg>
        <pc:spChg chg="del">
          <ac:chgData name="CISNEROS ROJAS, CAMILA GEORGINA" userId="c56cbc2a-55cd-4a0d-b56e-a0bfe880dc94" providerId="ADAL" clId="{BF859A91-FA63-4DC9-AD14-A4569BDBEE57}" dt="2025-03-05T21:01:58.057" v="13974" actId="478"/>
          <ac:spMkLst>
            <pc:docMk/>
            <pc:sldMk cId="1312435088" sldId="8207"/>
            <ac:spMk id="11" creationId="{6DF339CC-B2B0-3E5C-143E-D7FDF93865C9}"/>
          </ac:spMkLst>
        </pc:spChg>
      </pc:sldChg>
      <pc:sldChg chg="delSp modSp add del mod ord">
        <pc:chgData name="CISNEROS ROJAS, CAMILA GEORGINA" userId="c56cbc2a-55cd-4a0d-b56e-a0bfe880dc94" providerId="ADAL" clId="{BF859A91-FA63-4DC9-AD14-A4569BDBEE57}" dt="2025-03-06T15:09:39.714" v="15926" actId="2696"/>
        <pc:sldMkLst>
          <pc:docMk/>
          <pc:sldMk cId="2976476118" sldId="8208"/>
        </pc:sldMkLst>
        <pc:spChg chg="mod">
          <ac:chgData name="CISNEROS ROJAS, CAMILA GEORGINA" userId="c56cbc2a-55cd-4a0d-b56e-a0bfe880dc94" providerId="ADAL" clId="{BF859A91-FA63-4DC9-AD14-A4569BDBEE57}" dt="2025-03-05T21:02:59.401" v="13998" actId="20577"/>
          <ac:spMkLst>
            <pc:docMk/>
            <pc:sldMk cId="2976476118" sldId="8208"/>
            <ac:spMk id="4" creationId="{2F8DE1E2-9B82-3C2C-5967-F5061A8C6871}"/>
          </ac:spMkLst>
        </pc:spChg>
        <pc:spChg chg="del">
          <ac:chgData name="CISNEROS ROJAS, CAMILA GEORGINA" userId="c56cbc2a-55cd-4a0d-b56e-a0bfe880dc94" providerId="ADAL" clId="{BF859A91-FA63-4DC9-AD14-A4569BDBEE57}" dt="2025-03-05T21:03:01.422" v="13999" actId="478"/>
          <ac:spMkLst>
            <pc:docMk/>
            <pc:sldMk cId="2976476118" sldId="8208"/>
            <ac:spMk id="5" creationId="{033EDF13-EE1D-D3BE-2753-9D012D9ACCB6}"/>
          </ac:spMkLst>
        </pc:spChg>
      </pc:sldChg>
      <pc:sldChg chg="addSp modSp add mod">
        <pc:chgData name="CISNEROS ROJAS, CAMILA GEORGINA" userId="c56cbc2a-55cd-4a0d-b56e-a0bfe880dc94" providerId="ADAL" clId="{BF859A91-FA63-4DC9-AD14-A4569BDBEE57}" dt="2025-03-06T15:24:53.294" v="16043" actId="3626"/>
        <pc:sldMkLst>
          <pc:docMk/>
          <pc:sldMk cId="3775120594" sldId="2147472264"/>
        </pc:sldMkLst>
        <pc:spChg chg="add mod">
          <ac:chgData name="CISNEROS ROJAS, CAMILA GEORGINA" userId="c56cbc2a-55cd-4a0d-b56e-a0bfe880dc94" providerId="ADAL" clId="{BF859A91-FA63-4DC9-AD14-A4569BDBEE57}" dt="2025-03-06T15:16:39.230" v="16038" actId="20577"/>
          <ac:spMkLst>
            <pc:docMk/>
            <pc:sldMk cId="3775120594" sldId="2147472264"/>
            <ac:spMk id="7" creationId="{0CA084EE-98C7-7124-0A98-6D26DB9C0B61}"/>
          </ac:spMkLst>
        </pc:spChg>
        <pc:spChg chg="mod">
          <ac:chgData name="CISNEROS ROJAS, CAMILA GEORGINA" userId="c56cbc2a-55cd-4a0d-b56e-a0bfe880dc94" providerId="ADAL" clId="{BF859A91-FA63-4DC9-AD14-A4569BDBEE57}" dt="2025-03-06T15:18:18.540" v="16040" actId="3626"/>
          <ac:spMkLst>
            <pc:docMk/>
            <pc:sldMk cId="3775120594" sldId="2147472264"/>
            <ac:spMk id="20" creationId="{0879DB1A-2BEA-4630-900D-9C5756705A88}"/>
          </ac:spMkLst>
        </pc:spChg>
        <pc:spChg chg="mod">
          <ac:chgData name="CISNEROS ROJAS, CAMILA GEORGINA" userId="c56cbc2a-55cd-4a0d-b56e-a0bfe880dc94" providerId="ADAL" clId="{BF859A91-FA63-4DC9-AD14-A4569BDBEE57}" dt="2025-03-06T15:24:53.294" v="16043" actId="3626"/>
          <ac:spMkLst>
            <pc:docMk/>
            <pc:sldMk cId="3775120594" sldId="2147472264"/>
            <ac:spMk id="21" creationId="{862E96A6-E9EF-413F-9EC0-11DC21E26ED7}"/>
          </ac:spMkLst>
        </pc:spChg>
        <pc:spChg chg="mod">
          <ac:chgData name="CISNEROS ROJAS, CAMILA GEORGINA" userId="c56cbc2a-55cd-4a0d-b56e-a0bfe880dc94" providerId="ADAL" clId="{BF859A91-FA63-4DC9-AD14-A4569BDBEE57}" dt="2025-03-06T15:23:34.037" v="16042" actId="3626"/>
          <ac:spMkLst>
            <pc:docMk/>
            <pc:sldMk cId="3775120594" sldId="2147472264"/>
            <ac:spMk id="22" creationId="{DEE467F4-1807-4069-A2BB-2C25780A188D}"/>
          </ac:spMkLst>
        </pc:spChg>
        <pc:spChg chg="mod">
          <ac:chgData name="CISNEROS ROJAS, CAMILA GEORGINA" userId="c56cbc2a-55cd-4a0d-b56e-a0bfe880dc94" providerId="ADAL" clId="{BF859A91-FA63-4DC9-AD14-A4569BDBEE57}" dt="2025-03-06T15:21:37.405" v="16041" actId="3626"/>
          <ac:spMkLst>
            <pc:docMk/>
            <pc:sldMk cId="3775120594" sldId="2147472264"/>
            <ac:spMk id="23" creationId="{E3EFF972-CE4C-4C6C-BE22-7C94AFACB1F1}"/>
          </ac:spMkLst>
        </pc:spChg>
      </pc:sldChg>
      <pc:sldChg chg="addSp delSp modSp new mod">
        <pc:chgData name="CISNEROS ROJAS, CAMILA GEORGINA" userId="c56cbc2a-55cd-4a0d-b56e-a0bfe880dc94" providerId="ADAL" clId="{BF859A91-FA63-4DC9-AD14-A4569BDBEE57}" dt="2025-03-06T16:03:47.982" v="16568"/>
        <pc:sldMkLst>
          <pc:docMk/>
          <pc:sldMk cId="3541138618" sldId="2147472265"/>
        </pc:sldMkLst>
        <pc:spChg chg="mod">
          <ac:chgData name="CISNEROS ROJAS, CAMILA GEORGINA" userId="c56cbc2a-55cd-4a0d-b56e-a0bfe880dc94" providerId="ADAL" clId="{BF859A91-FA63-4DC9-AD14-A4569BDBEE57}" dt="2025-03-06T15:47:17.149" v="16141" actId="313"/>
          <ac:spMkLst>
            <pc:docMk/>
            <pc:sldMk cId="3541138618" sldId="2147472265"/>
            <ac:spMk id="2" creationId="{28D1F13F-E182-6AA5-3C7C-1BAC32DFE609}"/>
          </ac:spMkLst>
        </pc:spChg>
        <pc:spChg chg="add mod">
          <ac:chgData name="CISNEROS ROJAS, CAMILA GEORGINA" userId="c56cbc2a-55cd-4a0d-b56e-a0bfe880dc94" providerId="ADAL" clId="{BF859A91-FA63-4DC9-AD14-A4569BDBEE57}" dt="2025-03-06T15:52:53.941" v="16146" actId="14100"/>
          <ac:spMkLst>
            <pc:docMk/>
            <pc:sldMk cId="3541138618" sldId="2147472265"/>
            <ac:spMk id="3" creationId="{BC420C4F-E7E6-4DE1-5528-48DCB8BEB289}"/>
          </ac:spMkLst>
        </pc:spChg>
        <pc:spChg chg="add mod">
          <ac:chgData name="CISNEROS ROJAS, CAMILA GEORGINA" userId="c56cbc2a-55cd-4a0d-b56e-a0bfe880dc94" providerId="ADAL" clId="{BF859A91-FA63-4DC9-AD14-A4569BDBEE57}" dt="2025-03-06T15:52:05.125" v="16143" actId="1076"/>
          <ac:spMkLst>
            <pc:docMk/>
            <pc:sldMk cId="3541138618" sldId="2147472265"/>
            <ac:spMk id="4" creationId="{48307AEA-37CA-AFB0-4C77-56A0C16F8AFC}"/>
          </ac:spMkLst>
        </pc:spChg>
        <pc:spChg chg="add mod">
          <ac:chgData name="CISNEROS ROJAS, CAMILA GEORGINA" userId="c56cbc2a-55cd-4a0d-b56e-a0bfe880dc94" providerId="ADAL" clId="{BF859A91-FA63-4DC9-AD14-A4569BDBEE57}" dt="2025-03-06T15:52:53.941" v="16146" actId="14100"/>
          <ac:spMkLst>
            <pc:docMk/>
            <pc:sldMk cId="3541138618" sldId="2147472265"/>
            <ac:spMk id="5" creationId="{AF9375A5-595B-DD76-78B5-F94BBFFDF8B0}"/>
          </ac:spMkLst>
        </pc:spChg>
        <pc:spChg chg="add mod">
          <ac:chgData name="CISNEROS ROJAS, CAMILA GEORGINA" userId="c56cbc2a-55cd-4a0d-b56e-a0bfe880dc94" providerId="ADAL" clId="{BF859A91-FA63-4DC9-AD14-A4569BDBEE57}" dt="2025-03-06T15:52:05.125" v="16143" actId="1076"/>
          <ac:spMkLst>
            <pc:docMk/>
            <pc:sldMk cId="3541138618" sldId="2147472265"/>
            <ac:spMk id="6" creationId="{5FDC0A1D-2A36-7AE2-C51F-693B2AB1C1BB}"/>
          </ac:spMkLst>
        </pc:spChg>
        <pc:spChg chg="add mod">
          <ac:chgData name="CISNEROS ROJAS, CAMILA GEORGINA" userId="c56cbc2a-55cd-4a0d-b56e-a0bfe880dc94" providerId="ADAL" clId="{BF859A91-FA63-4DC9-AD14-A4569BDBEE57}" dt="2025-03-06T15:52:53.941" v="16146" actId="14100"/>
          <ac:spMkLst>
            <pc:docMk/>
            <pc:sldMk cId="3541138618" sldId="2147472265"/>
            <ac:spMk id="7" creationId="{EA3A2333-EB04-FA9E-DC15-2C29B9A62150}"/>
          </ac:spMkLst>
        </pc:spChg>
        <pc:spChg chg="add mod">
          <ac:chgData name="CISNEROS ROJAS, CAMILA GEORGINA" userId="c56cbc2a-55cd-4a0d-b56e-a0bfe880dc94" providerId="ADAL" clId="{BF859A91-FA63-4DC9-AD14-A4569BDBEE57}" dt="2025-03-06T15:52:05.125" v="16143" actId="1076"/>
          <ac:spMkLst>
            <pc:docMk/>
            <pc:sldMk cId="3541138618" sldId="2147472265"/>
            <ac:spMk id="8" creationId="{797EF3C8-D6DC-D69C-6080-1EB51A7ADDE8}"/>
          </ac:spMkLst>
        </pc:spChg>
        <pc:spChg chg="add mod">
          <ac:chgData name="CISNEROS ROJAS, CAMILA GEORGINA" userId="c56cbc2a-55cd-4a0d-b56e-a0bfe880dc94" providerId="ADAL" clId="{BF859A91-FA63-4DC9-AD14-A4569BDBEE57}" dt="2025-03-06T15:52:53.941" v="16146" actId="14100"/>
          <ac:spMkLst>
            <pc:docMk/>
            <pc:sldMk cId="3541138618" sldId="2147472265"/>
            <ac:spMk id="9" creationId="{FA4AEED8-2025-162D-50C2-DC6D25521CEB}"/>
          </ac:spMkLst>
        </pc:spChg>
        <pc:spChg chg="add mod">
          <ac:chgData name="CISNEROS ROJAS, CAMILA GEORGINA" userId="c56cbc2a-55cd-4a0d-b56e-a0bfe880dc94" providerId="ADAL" clId="{BF859A91-FA63-4DC9-AD14-A4569BDBEE57}" dt="2025-03-06T15:52:05.125" v="16143" actId="1076"/>
          <ac:spMkLst>
            <pc:docMk/>
            <pc:sldMk cId="3541138618" sldId="2147472265"/>
            <ac:spMk id="10" creationId="{113DA00E-5221-B13E-B3D3-52931A446DAA}"/>
          </ac:spMkLst>
        </pc:spChg>
        <pc:spChg chg="add mod">
          <ac:chgData name="CISNEROS ROJAS, CAMILA GEORGINA" userId="c56cbc2a-55cd-4a0d-b56e-a0bfe880dc94" providerId="ADAL" clId="{BF859A91-FA63-4DC9-AD14-A4569BDBEE57}" dt="2025-03-06T15:52:53.941" v="16146" actId="14100"/>
          <ac:spMkLst>
            <pc:docMk/>
            <pc:sldMk cId="3541138618" sldId="2147472265"/>
            <ac:spMk id="11" creationId="{21C52E80-AF69-45D1-5C47-388B4F8435FC}"/>
          </ac:spMkLst>
        </pc:spChg>
        <pc:spChg chg="add mod">
          <ac:chgData name="CISNEROS ROJAS, CAMILA GEORGINA" userId="c56cbc2a-55cd-4a0d-b56e-a0bfe880dc94" providerId="ADAL" clId="{BF859A91-FA63-4DC9-AD14-A4569BDBEE57}" dt="2025-03-06T15:52:05.125" v="16143" actId="1076"/>
          <ac:spMkLst>
            <pc:docMk/>
            <pc:sldMk cId="3541138618" sldId="2147472265"/>
            <ac:spMk id="12" creationId="{5537EB64-6A71-C278-99B5-C997035AF7CB}"/>
          </ac:spMkLst>
        </pc:spChg>
        <pc:spChg chg="add mod">
          <ac:chgData name="CISNEROS ROJAS, CAMILA GEORGINA" userId="c56cbc2a-55cd-4a0d-b56e-a0bfe880dc94" providerId="ADAL" clId="{BF859A91-FA63-4DC9-AD14-A4569BDBEE57}" dt="2025-03-06T15:52:05.125" v="16143" actId="1076"/>
          <ac:spMkLst>
            <pc:docMk/>
            <pc:sldMk cId="3541138618" sldId="2147472265"/>
            <ac:spMk id="13" creationId="{1D31CF0C-6AFE-D184-1CE7-350B08802495}"/>
          </ac:spMkLst>
        </pc:spChg>
        <pc:spChg chg="add mod">
          <ac:chgData name="CISNEROS ROJAS, CAMILA GEORGINA" userId="c56cbc2a-55cd-4a0d-b56e-a0bfe880dc94" providerId="ADAL" clId="{BF859A91-FA63-4DC9-AD14-A4569BDBEE57}" dt="2025-03-06T15:52:05.125" v="16143" actId="1076"/>
          <ac:spMkLst>
            <pc:docMk/>
            <pc:sldMk cId="3541138618" sldId="2147472265"/>
            <ac:spMk id="14" creationId="{5A156A7A-0FE9-1C33-8AEE-2702DCADF50D}"/>
          </ac:spMkLst>
        </pc:spChg>
        <pc:spChg chg="add mod">
          <ac:chgData name="CISNEROS ROJAS, CAMILA GEORGINA" userId="c56cbc2a-55cd-4a0d-b56e-a0bfe880dc94" providerId="ADAL" clId="{BF859A91-FA63-4DC9-AD14-A4569BDBEE57}" dt="2025-03-06T15:52:05.125" v="16143" actId="1076"/>
          <ac:spMkLst>
            <pc:docMk/>
            <pc:sldMk cId="3541138618" sldId="2147472265"/>
            <ac:spMk id="15" creationId="{8239CA27-15C8-ECB1-0628-3D241CB359AE}"/>
          </ac:spMkLst>
        </pc:spChg>
        <pc:spChg chg="add mod">
          <ac:chgData name="CISNEROS ROJAS, CAMILA GEORGINA" userId="c56cbc2a-55cd-4a0d-b56e-a0bfe880dc94" providerId="ADAL" clId="{BF859A91-FA63-4DC9-AD14-A4569BDBEE57}" dt="2025-03-06T15:52:05.125" v="16143" actId="1076"/>
          <ac:spMkLst>
            <pc:docMk/>
            <pc:sldMk cId="3541138618" sldId="2147472265"/>
            <ac:spMk id="16" creationId="{5BFE2C36-AC1F-D0FB-7A2E-AFCCB394ED86}"/>
          </ac:spMkLst>
        </pc:spChg>
        <pc:spChg chg="add mod">
          <ac:chgData name="CISNEROS ROJAS, CAMILA GEORGINA" userId="c56cbc2a-55cd-4a0d-b56e-a0bfe880dc94" providerId="ADAL" clId="{BF859A91-FA63-4DC9-AD14-A4569BDBEE57}" dt="2025-03-06T15:52:05.125" v="16143" actId="1076"/>
          <ac:spMkLst>
            <pc:docMk/>
            <pc:sldMk cId="3541138618" sldId="2147472265"/>
            <ac:spMk id="17" creationId="{F84E76AC-E5C2-272B-08D7-A80B59BE9489}"/>
          </ac:spMkLst>
        </pc:spChg>
        <pc:spChg chg="add mod">
          <ac:chgData name="CISNEROS ROJAS, CAMILA GEORGINA" userId="c56cbc2a-55cd-4a0d-b56e-a0bfe880dc94" providerId="ADAL" clId="{BF859A91-FA63-4DC9-AD14-A4569BDBEE57}" dt="2025-03-06T15:54:32.443" v="16200"/>
          <ac:spMkLst>
            <pc:docMk/>
            <pc:sldMk cId="3541138618" sldId="2147472265"/>
            <ac:spMk id="18" creationId="{C9A05AFE-F0DF-0F2C-162B-050ED0F9FF05}"/>
          </ac:spMkLst>
        </pc:spChg>
        <pc:spChg chg="add mod">
          <ac:chgData name="CISNEROS ROJAS, CAMILA GEORGINA" userId="c56cbc2a-55cd-4a0d-b56e-a0bfe880dc94" providerId="ADAL" clId="{BF859A91-FA63-4DC9-AD14-A4569BDBEE57}" dt="2025-03-06T15:55:07.600" v="16218"/>
          <ac:spMkLst>
            <pc:docMk/>
            <pc:sldMk cId="3541138618" sldId="2147472265"/>
            <ac:spMk id="19" creationId="{9A6B109C-EC8C-440B-4A85-3DC25C790B1C}"/>
          </ac:spMkLst>
        </pc:spChg>
        <pc:spChg chg="add mod">
          <ac:chgData name="CISNEROS ROJAS, CAMILA GEORGINA" userId="c56cbc2a-55cd-4a0d-b56e-a0bfe880dc94" providerId="ADAL" clId="{BF859A91-FA63-4DC9-AD14-A4569BDBEE57}" dt="2025-03-06T15:55:53.390" v="16256"/>
          <ac:spMkLst>
            <pc:docMk/>
            <pc:sldMk cId="3541138618" sldId="2147472265"/>
            <ac:spMk id="20" creationId="{48910503-1384-5217-480B-0DFA5283CF42}"/>
          </ac:spMkLst>
        </pc:spChg>
        <pc:spChg chg="add mod">
          <ac:chgData name="CISNEROS ROJAS, CAMILA GEORGINA" userId="c56cbc2a-55cd-4a0d-b56e-a0bfe880dc94" providerId="ADAL" clId="{BF859A91-FA63-4DC9-AD14-A4569BDBEE57}" dt="2025-03-06T15:56:41.749" v="16294"/>
          <ac:spMkLst>
            <pc:docMk/>
            <pc:sldMk cId="3541138618" sldId="2147472265"/>
            <ac:spMk id="21" creationId="{A30D83DD-C108-F4A6-EB42-BBA27C01D37C}"/>
          </ac:spMkLst>
        </pc:spChg>
        <pc:spChg chg="add mod">
          <ac:chgData name="CISNEROS ROJAS, CAMILA GEORGINA" userId="c56cbc2a-55cd-4a0d-b56e-a0bfe880dc94" providerId="ADAL" clId="{BF859A91-FA63-4DC9-AD14-A4569BDBEE57}" dt="2025-03-06T15:57:29.767" v="16297"/>
          <ac:spMkLst>
            <pc:docMk/>
            <pc:sldMk cId="3541138618" sldId="2147472265"/>
            <ac:spMk id="22" creationId="{0081F4EB-981B-D8D7-5F84-1EA2D419FD33}"/>
          </ac:spMkLst>
        </pc:spChg>
        <pc:spChg chg="add mod">
          <ac:chgData name="CISNEROS ROJAS, CAMILA GEORGINA" userId="c56cbc2a-55cd-4a0d-b56e-a0bfe880dc94" providerId="ADAL" clId="{BF859A91-FA63-4DC9-AD14-A4569BDBEE57}" dt="2025-03-06T15:52:53.941" v="16146" actId="14100"/>
          <ac:spMkLst>
            <pc:docMk/>
            <pc:sldMk cId="3541138618" sldId="2147472265"/>
            <ac:spMk id="23" creationId="{D573494F-AAE5-B88E-F70E-FF415282D482}"/>
          </ac:spMkLst>
        </pc:spChg>
        <pc:spChg chg="add mod">
          <ac:chgData name="CISNEROS ROJAS, CAMILA GEORGINA" userId="c56cbc2a-55cd-4a0d-b56e-a0bfe880dc94" providerId="ADAL" clId="{BF859A91-FA63-4DC9-AD14-A4569BDBEE57}" dt="2025-03-06T15:52:05.125" v="16143" actId="1076"/>
          <ac:spMkLst>
            <pc:docMk/>
            <pc:sldMk cId="3541138618" sldId="2147472265"/>
            <ac:spMk id="24" creationId="{3FF54F08-A1BE-C5C5-5771-968C573C45D9}"/>
          </ac:spMkLst>
        </pc:spChg>
        <pc:spChg chg="add mod">
          <ac:chgData name="CISNEROS ROJAS, CAMILA GEORGINA" userId="c56cbc2a-55cd-4a0d-b56e-a0bfe880dc94" providerId="ADAL" clId="{BF859A91-FA63-4DC9-AD14-A4569BDBEE57}" dt="2025-03-06T15:52:05.125" v="16143" actId="1076"/>
          <ac:spMkLst>
            <pc:docMk/>
            <pc:sldMk cId="3541138618" sldId="2147472265"/>
            <ac:spMk id="25" creationId="{431BB8BF-91F5-6993-804B-112518D7A66C}"/>
          </ac:spMkLst>
        </pc:spChg>
        <pc:spChg chg="add mod">
          <ac:chgData name="CISNEROS ROJAS, CAMILA GEORGINA" userId="c56cbc2a-55cd-4a0d-b56e-a0bfe880dc94" providerId="ADAL" clId="{BF859A91-FA63-4DC9-AD14-A4569BDBEE57}" dt="2025-03-06T15:58:07.982" v="16302"/>
          <ac:spMkLst>
            <pc:docMk/>
            <pc:sldMk cId="3541138618" sldId="2147472265"/>
            <ac:spMk id="26" creationId="{B3BDE3D9-9C55-BD71-2090-513A03AF6AD2}"/>
          </ac:spMkLst>
        </pc:spChg>
        <pc:spChg chg="add mod">
          <ac:chgData name="CISNEROS ROJAS, CAMILA GEORGINA" userId="c56cbc2a-55cd-4a0d-b56e-a0bfe880dc94" providerId="ADAL" clId="{BF859A91-FA63-4DC9-AD14-A4569BDBEE57}" dt="2025-03-06T15:52:53.941" v="16146" actId="14100"/>
          <ac:spMkLst>
            <pc:docMk/>
            <pc:sldMk cId="3541138618" sldId="2147472265"/>
            <ac:spMk id="27" creationId="{41C371F7-4021-5427-8850-4A84F200F606}"/>
          </ac:spMkLst>
        </pc:spChg>
        <pc:spChg chg="add mod">
          <ac:chgData name="CISNEROS ROJAS, CAMILA GEORGINA" userId="c56cbc2a-55cd-4a0d-b56e-a0bfe880dc94" providerId="ADAL" clId="{BF859A91-FA63-4DC9-AD14-A4569BDBEE57}" dt="2025-03-06T15:52:43.064" v="16145" actId="1076"/>
          <ac:spMkLst>
            <pc:docMk/>
            <pc:sldMk cId="3541138618" sldId="2147472265"/>
            <ac:spMk id="28" creationId="{2876411B-29C8-58D2-D3E1-C66EEF1ED2FC}"/>
          </ac:spMkLst>
        </pc:spChg>
        <pc:spChg chg="add mod">
          <ac:chgData name="CISNEROS ROJAS, CAMILA GEORGINA" userId="c56cbc2a-55cd-4a0d-b56e-a0bfe880dc94" providerId="ADAL" clId="{BF859A91-FA63-4DC9-AD14-A4569BDBEE57}" dt="2025-03-06T15:53:33.123" v="16154" actId="20577"/>
          <ac:spMkLst>
            <pc:docMk/>
            <pc:sldMk cId="3541138618" sldId="2147472265"/>
            <ac:spMk id="29" creationId="{A98E954D-6EBC-5780-9CE2-233185AEE069}"/>
          </ac:spMkLst>
        </pc:spChg>
        <pc:spChg chg="add mod">
          <ac:chgData name="CISNEROS ROJAS, CAMILA GEORGINA" userId="c56cbc2a-55cd-4a0d-b56e-a0bfe880dc94" providerId="ADAL" clId="{BF859A91-FA63-4DC9-AD14-A4569BDBEE57}" dt="2025-03-06T15:59:19.150" v="16382"/>
          <ac:spMkLst>
            <pc:docMk/>
            <pc:sldMk cId="3541138618" sldId="2147472265"/>
            <ac:spMk id="30" creationId="{AEDD6381-8F96-54EC-394B-974DE803FFF1}"/>
          </ac:spMkLst>
        </pc:spChg>
        <pc:spChg chg="add mod">
          <ac:chgData name="CISNEROS ROJAS, CAMILA GEORGINA" userId="c56cbc2a-55cd-4a0d-b56e-a0bfe880dc94" providerId="ADAL" clId="{BF859A91-FA63-4DC9-AD14-A4569BDBEE57}" dt="2025-03-06T15:53:18.530" v="16150" actId="1076"/>
          <ac:spMkLst>
            <pc:docMk/>
            <pc:sldMk cId="3541138618" sldId="2147472265"/>
            <ac:spMk id="31" creationId="{15307E95-7D67-ECE7-397D-59110C2A7FCE}"/>
          </ac:spMkLst>
        </pc:spChg>
        <pc:spChg chg="add mod">
          <ac:chgData name="CISNEROS ROJAS, CAMILA GEORGINA" userId="c56cbc2a-55cd-4a0d-b56e-a0bfe880dc94" providerId="ADAL" clId="{BF859A91-FA63-4DC9-AD14-A4569BDBEE57}" dt="2025-03-06T15:53:18.530" v="16150" actId="1076"/>
          <ac:spMkLst>
            <pc:docMk/>
            <pc:sldMk cId="3541138618" sldId="2147472265"/>
            <ac:spMk id="32" creationId="{45D0180C-8EF3-4BF2-9234-B5EF139A188A}"/>
          </ac:spMkLst>
        </pc:spChg>
        <pc:spChg chg="add mod">
          <ac:chgData name="CISNEROS ROJAS, CAMILA GEORGINA" userId="c56cbc2a-55cd-4a0d-b56e-a0bfe880dc94" providerId="ADAL" clId="{BF859A91-FA63-4DC9-AD14-A4569BDBEE57}" dt="2025-03-06T15:53:18.530" v="16150" actId="1076"/>
          <ac:spMkLst>
            <pc:docMk/>
            <pc:sldMk cId="3541138618" sldId="2147472265"/>
            <ac:spMk id="33" creationId="{EE40E57B-098B-CC43-B3CA-35BA76D50E15}"/>
          </ac:spMkLst>
        </pc:spChg>
        <pc:spChg chg="add mod">
          <ac:chgData name="CISNEROS ROJAS, CAMILA GEORGINA" userId="c56cbc2a-55cd-4a0d-b56e-a0bfe880dc94" providerId="ADAL" clId="{BF859A91-FA63-4DC9-AD14-A4569BDBEE57}" dt="2025-03-06T15:53:18.530" v="16150" actId="1076"/>
          <ac:spMkLst>
            <pc:docMk/>
            <pc:sldMk cId="3541138618" sldId="2147472265"/>
            <ac:spMk id="34" creationId="{30372A7E-911B-6239-8C58-2B8AC8065F56}"/>
          </ac:spMkLst>
        </pc:spChg>
        <pc:spChg chg="add mod">
          <ac:chgData name="CISNEROS ROJAS, CAMILA GEORGINA" userId="c56cbc2a-55cd-4a0d-b56e-a0bfe880dc94" providerId="ADAL" clId="{BF859A91-FA63-4DC9-AD14-A4569BDBEE57}" dt="2025-03-06T15:53:18.530" v="16150" actId="1076"/>
          <ac:spMkLst>
            <pc:docMk/>
            <pc:sldMk cId="3541138618" sldId="2147472265"/>
            <ac:spMk id="35" creationId="{76F26EB5-65C7-3A30-2986-918DA344D214}"/>
          </ac:spMkLst>
        </pc:spChg>
        <pc:spChg chg="add mod">
          <ac:chgData name="CISNEROS ROJAS, CAMILA GEORGINA" userId="c56cbc2a-55cd-4a0d-b56e-a0bfe880dc94" providerId="ADAL" clId="{BF859A91-FA63-4DC9-AD14-A4569BDBEE57}" dt="2025-03-06T15:53:18.530" v="16150" actId="1076"/>
          <ac:spMkLst>
            <pc:docMk/>
            <pc:sldMk cId="3541138618" sldId="2147472265"/>
            <ac:spMk id="36" creationId="{FCFD676C-3DF6-582E-DA27-64EBECCEF549}"/>
          </ac:spMkLst>
        </pc:spChg>
        <pc:spChg chg="add mod">
          <ac:chgData name="CISNEROS ROJAS, CAMILA GEORGINA" userId="c56cbc2a-55cd-4a0d-b56e-a0bfe880dc94" providerId="ADAL" clId="{BF859A91-FA63-4DC9-AD14-A4569BDBEE57}" dt="2025-03-06T15:53:36.801" v="16156" actId="20577"/>
          <ac:spMkLst>
            <pc:docMk/>
            <pc:sldMk cId="3541138618" sldId="2147472265"/>
            <ac:spMk id="37" creationId="{18CC90AE-589D-4A06-4332-BC8C3BD82FA1}"/>
          </ac:spMkLst>
        </pc:spChg>
        <pc:spChg chg="add mod">
          <ac:chgData name="CISNEROS ROJAS, CAMILA GEORGINA" userId="c56cbc2a-55cd-4a0d-b56e-a0bfe880dc94" providerId="ADAL" clId="{BF859A91-FA63-4DC9-AD14-A4569BDBEE57}" dt="2025-03-06T15:53:39.854" v="16158" actId="20577"/>
          <ac:spMkLst>
            <pc:docMk/>
            <pc:sldMk cId="3541138618" sldId="2147472265"/>
            <ac:spMk id="38" creationId="{EAA80695-BCA7-BC8C-A0E0-6A689D2C6EDA}"/>
          </ac:spMkLst>
        </pc:spChg>
        <pc:spChg chg="add mod">
          <ac:chgData name="CISNEROS ROJAS, CAMILA GEORGINA" userId="c56cbc2a-55cd-4a0d-b56e-a0bfe880dc94" providerId="ADAL" clId="{BF859A91-FA63-4DC9-AD14-A4569BDBEE57}" dt="2025-03-06T15:53:43.549" v="16162" actId="20577"/>
          <ac:spMkLst>
            <pc:docMk/>
            <pc:sldMk cId="3541138618" sldId="2147472265"/>
            <ac:spMk id="39" creationId="{0CA764B2-94A2-A249-6BA8-B08EDE1918D2}"/>
          </ac:spMkLst>
        </pc:spChg>
        <pc:spChg chg="add mod">
          <ac:chgData name="CISNEROS ROJAS, CAMILA GEORGINA" userId="c56cbc2a-55cd-4a0d-b56e-a0bfe880dc94" providerId="ADAL" clId="{BF859A91-FA63-4DC9-AD14-A4569BDBEE57}" dt="2025-03-06T15:59:49.559" v="16400"/>
          <ac:spMkLst>
            <pc:docMk/>
            <pc:sldMk cId="3541138618" sldId="2147472265"/>
            <ac:spMk id="40" creationId="{ED9D5CEF-9EA9-486B-441E-C7523B9FA28D}"/>
          </ac:spMkLst>
        </pc:spChg>
        <pc:spChg chg="add mod">
          <ac:chgData name="CISNEROS ROJAS, CAMILA GEORGINA" userId="c56cbc2a-55cd-4a0d-b56e-a0bfe880dc94" providerId="ADAL" clId="{BF859A91-FA63-4DC9-AD14-A4569BDBEE57}" dt="2025-03-06T16:00:33.918" v="16405"/>
          <ac:spMkLst>
            <pc:docMk/>
            <pc:sldMk cId="3541138618" sldId="2147472265"/>
            <ac:spMk id="41" creationId="{FC5209BF-3831-0CE8-1A2C-5C2156E5B981}"/>
          </ac:spMkLst>
        </pc:spChg>
        <pc:spChg chg="add mod">
          <ac:chgData name="CISNEROS ROJAS, CAMILA GEORGINA" userId="c56cbc2a-55cd-4a0d-b56e-a0bfe880dc94" providerId="ADAL" clId="{BF859A91-FA63-4DC9-AD14-A4569BDBEE57}" dt="2025-03-06T16:00:49.610" v="16417"/>
          <ac:spMkLst>
            <pc:docMk/>
            <pc:sldMk cId="3541138618" sldId="2147472265"/>
            <ac:spMk id="42" creationId="{E62DA0BA-46AB-D8F4-76DF-6E308492654D}"/>
          </ac:spMkLst>
        </pc:spChg>
        <pc:spChg chg="add mod">
          <ac:chgData name="CISNEROS ROJAS, CAMILA GEORGINA" userId="c56cbc2a-55cd-4a0d-b56e-a0bfe880dc94" providerId="ADAL" clId="{BF859A91-FA63-4DC9-AD14-A4569BDBEE57}" dt="2025-03-06T15:53:18.530" v="16150" actId="1076"/>
          <ac:spMkLst>
            <pc:docMk/>
            <pc:sldMk cId="3541138618" sldId="2147472265"/>
            <ac:spMk id="43" creationId="{5EB0B910-CC0C-217D-A935-1227558E27D1}"/>
          </ac:spMkLst>
        </pc:spChg>
        <pc:spChg chg="add mod">
          <ac:chgData name="CISNEROS ROJAS, CAMILA GEORGINA" userId="c56cbc2a-55cd-4a0d-b56e-a0bfe880dc94" providerId="ADAL" clId="{BF859A91-FA63-4DC9-AD14-A4569BDBEE57}" dt="2025-03-06T15:53:18.530" v="16150" actId="1076"/>
          <ac:spMkLst>
            <pc:docMk/>
            <pc:sldMk cId="3541138618" sldId="2147472265"/>
            <ac:spMk id="44" creationId="{D059954C-736A-6FA2-BD73-E7D74C71AEF7}"/>
          </ac:spMkLst>
        </pc:spChg>
        <pc:spChg chg="add mod">
          <ac:chgData name="CISNEROS ROJAS, CAMILA GEORGINA" userId="c56cbc2a-55cd-4a0d-b56e-a0bfe880dc94" providerId="ADAL" clId="{BF859A91-FA63-4DC9-AD14-A4569BDBEE57}" dt="2025-03-06T15:53:46.991" v="16166" actId="20577"/>
          <ac:spMkLst>
            <pc:docMk/>
            <pc:sldMk cId="3541138618" sldId="2147472265"/>
            <ac:spMk id="45" creationId="{BD30C2CA-2BE0-6B9F-42D4-F940226EF2D4}"/>
          </ac:spMkLst>
        </pc:spChg>
        <pc:spChg chg="add mod">
          <ac:chgData name="CISNEROS ROJAS, CAMILA GEORGINA" userId="c56cbc2a-55cd-4a0d-b56e-a0bfe880dc94" providerId="ADAL" clId="{BF859A91-FA63-4DC9-AD14-A4569BDBEE57}" dt="2025-03-06T16:01:36.878" v="16453"/>
          <ac:spMkLst>
            <pc:docMk/>
            <pc:sldMk cId="3541138618" sldId="2147472265"/>
            <ac:spMk id="46" creationId="{0FDB3227-D9A9-3F29-B4E9-E7AC075DE48C}"/>
          </ac:spMkLst>
        </pc:spChg>
        <pc:spChg chg="add mod">
          <ac:chgData name="CISNEROS ROJAS, CAMILA GEORGINA" userId="c56cbc2a-55cd-4a0d-b56e-a0bfe880dc94" providerId="ADAL" clId="{BF859A91-FA63-4DC9-AD14-A4569BDBEE57}" dt="2025-03-06T15:53:18.530" v="16150" actId="1076"/>
          <ac:spMkLst>
            <pc:docMk/>
            <pc:sldMk cId="3541138618" sldId="2147472265"/>
            <ac:spMk id="47" creationId="{B08AC6EA-CFD2-20A3-92C2-6E247783B249}"/>
          </ac:spMkLst>
        </pc:spChg>
        <pc:spChg chg="add mod">
          <ac:chgData name="CISNEROS ROJAS, CAMILA GEORGINA" userId="c56cbc2a-55cd-4a0d-b56e-a0bfe880dc94" providerId="ADAL" clId="{BF859A91-FA63-4DC9-AD14-A4569BDBEE57}" dt="2025-03-06T15:53:18.530" v="16150" actId="1076"/>
          <ac:spMkLst>
            <pc:docMk/>
            <pc:sldMk cId="3541138618" sldId="2147472265"/>
            <ac:spMk id="48" creationId="{C7283189-D9D8-8A83-460E-4FBCAF8B22B4}"/>
          </ac:spMkLst>
        </pc:spChg>
        <pc:spChg chg="add mod">
          <ac:chgData name="CISNEROS ROJAS, CAMILA GEORGINA" userId="c56cbc2a-55cd-4a0d-b56e-a0bfe880dc94" providerId="ADAL" clId="{BF859A91-FA63-4DC9-AD14-A4569BDBEE57}" dt="2025-03-06T15:53:50.974" v="16170" actId="20577"/>
          <ac:spMkLst>
            <pc:docMk/>
            <pc:sldMk cId="3541138618" sldId="2147472265"/>
            <ac:spMk id="49" creationId="{C5765B43-108D-5794-8018-2DBA4173FAC2}"/>
          </ac:spMkLst>
        </pc:spChg>
        <pc:spChg chg="add mod">
          <ac:chgData name="CISNEROS ROJAS, CAMILA GEORGINA" userId="c56cbc2a-55cd-4a0d-b56e-a0bfe880dc94" providerId="ADAL" clId="{BF859A91-FA63-4DC9-AD14-A4569BDBEE57}" dt="2025-03-06T16:02:11.318" v="16476"/>
          <ac:spMkLst>
            <pc:docMk/>
            <pc:sldMk cId="3541138618" sldId="2147472265"/>
            <ac:spMk id="50" creationId="{BCF4E7EA-08A7-F578-F670-6C30B6163011}"/>
          </ac:spMkLst>
        </pc:spChg>
        <pc:spChg chg="add mod">
          <ac:chgData name="CISNEROS ROJAS, CAMILA GEORGINA" userId="c56cbc2a-55cd-4a0d-b56e-a0bfe880dc94" providerId="ADAL" clId="{BF859A91-FA63-4DC9-AD14-A4569BDBEE57}" dt="2025-03-06T15:53:27.925" v="16152" actId="1076"/>
          <ac:spMkLst>
            <pc:docMk/>
            <pc:sldMk cId="3541138618" sldId="2147472265"/>
            <ac:spMk id="51" creationId="{67A2FE62-8D98-C4D4-F545-8D1A21F697C9}"/>
          </ac:spMkLst>
        </pc:spChg>
        <pc:spChg chg="add mod">
          <ac:chgData name="CISNEROS ROJAS, CAMILA GEORGINA" userId="c56cbc2a-55cd-4a0d-b56e-a0bfe880dc94" providerId="ADAL" clId="{BF859A91-FA63-4DC9-AD14-A4569BDBEE57}" dt="2025-03-06T15:53:27.925" v="16152" actId="1076"/>
          <ac:spMkLst>
            <pc:docMk/>
            <pc:sldMk cId="3541138618" sldId="2147472265"/>
            <ac:spMk id="52" creationId="{924423CB-1D1D-02C1-8D4E-ED67F0EA7BC9}"/>
          </ac:spMkLst>
        </pc:spChg>
        <pc:spChg chg="add mod">
          <ac:chgData name="CISNEROS ROJAS, CAMILA GEORGINA" userId="c56cbc2a-55cd-4a0d-b56e-a0bfe880dc94" providerId="ADAL" clId="{BF859A91-FA63-4DC9-AD14-A4569BDBEE57}" dt="2025-03-06T15:53:27.925" v="16152" actId="1076"/>
          <ac:spMkLst>
            <pc:docMk/>
            <pc:sldMk cId="3541138618" sldId="2147472265"/>
            <ac:spMk id="53" creationId="{4283E1B2-4E12-308A-334A-680CCD7C2BC9}"/>
          </ac:spMkLst>
        </pc:spChg>
        <pc:spChg chg="add mod">
          <ac:chgData name="CISNEROS ROJAS, CAMILA GEORGINA" userId="c56cbc2a-55cd-4a0d-b56e-a0bfe880dc94" providerId="ADAL" clId="{BF859A91-FA63-4DC9-AD14-A4569BDBEE57}" dt="2025-03-06T15:53:27.925" v="16152" actId="1076"/>
          <ac:spMkLst>
            <pc:docMk/>
            <pc:sldMk cId="3541138618" sldId="2147472265"/>
            <ac:spMk id="54" creationId="{9B33EA30-6453-9E8C-B04F-CE1AE9F899A7}"/>
          </ac:spMkLst>
        </pc:spChg>
        <pc:spChg chg="add mod">
          <ac:chgData name="CISNEROS ROJAS, CAMILA GEORGINA" userId="c56cbc2a-55cd-4a0d-b56e-a0bfe880dc94" providerId="ADAL" clId="{BF859A91-FA63-4DC9-AD14-A4569BDBEE57}" dt="2025-03-06T15:53:56.279" v="16176" actId="20577"/>
          <ac:spMkLst>
            <pc:docMk/>
            <pc:sldMk cId="3541138618" sldId="2147472265"/>
            <ac:spMk id="55" creationId="{866D142A-A49E-5485-0DE8-4E04BC5ABDA2}"/>
          </ac:spMkLst>
        </pc:spChg>
        <pc:spChg chg="add mod">
          <ac:chgData name="CISNEROS ROJAS, CAMILA GEORGINA" userId="c56cbc2a-55cd-4a0d-b56e-a0bfe880dc94" providerId="ADAL" clId="{BF859A91-FA63-4DC9-AD14-A4569BDBEE57}" dt="2025-03-06T15:53:59.738" v="16178" actId="20577"/>
          <ac:spMkLst>
            <pc:docMk/>
            <pc:sldMk cId="3541138618" sldId="2147472265"/>
            <ac:spMk id="56" creationId="{E204C68A-5B3F-0ABD-891C-E76B9DAC56B8}"/>
          </ac:spMkLst>
        </pc:spChg>
        <pc:spChg chg="add mod">
          <ac:chgData name="CISNEROS ROJAS, CAMILA GEORGINA" userId="c56cbc2a-55cd-4a0d-b56e-a0bfe880dc94" providerId="ADAL" clId="{BF859A91-FA63-4DC9-AD14-A4569BDBEE57}" dt="2025-03-06T16:02:55.664" v="16501"/>
          <ac:spMkLst>
            <pc:docMk/>
            <pc:sldMk cId="3541138618" sldId="2147472265"/>
            <ac:spMk id="57" creationId="{7DF3E681-0FA0-1ADB-45F4-B69F138B3A3A}"/>
          </ac:spMkLst>
        </pc:spChg>
        <pc:spChg chg="add mod">
          <ac:chgData name="CISNEROS ROJAS, CAMILA GEORGINA" userId="c56cbc2a-55cd-4a0d-b56e-a0bfe880dc94" providerId="ADAL" clId="{BF859A91-FA63-4DC9-AD14-A4569BDBEE57}" dt="2025-03-06T16:03:47.982" v="16568"/>
          <ac:spMkLst>
            <pc:docMk/>
            <pc:sldMk cId="3541138618" sldId="2147472265"/>
            <ac:spMk id="58" creationId="{8F4321F4-6838-4CD9-C1DD-A7CF002F0D24}"/>
          </ac:spMkLst>
        </pc:spChg>
        <pc:spChg chg="add del">
          <ac:chgData name="CISNEROS ROJAS, CAMILA GEORGINA" userId="c56cbc2a-55cd-4a0d-b56e-a0bfe880dc94" providerId="ADAL" clId="{BF859A91-FA63-4DC9-AD14-A4569BDBEE57}" dt="2025-03-06T15:59:07.432" v="16381" actId="478"/>
          <ac:spMkLst>
            <pc:docMk/>
            <pc:sldMk cId="3541138618" sldId="2147472265"/>
            <ac:spMk id="60" creationId="{3C0AAE24-ABBE-7E10-0595-07C36E31626F}"/>
          </ac:spMkLst>
        </pc:spChg>
      </pc:sldChg>
    </pc:docChg>
  </pc:docChgLst>
  <pc:docChgLst>
    <pc:chgData name="CACERES SANDOVAL, EVA MARIA" userId="efa43ab3-f30d-49e0-8bcf-cbcf637d4549" providerId="ADAL" clId="{4E712592-0C39-4DDE-8B68-57BC30629A0C}"/>
    <pc:docChg chg="custSel addSld delSld modSld">
      <pc:chgData name="CACERES SANDOVAL, EVA MARIA" userId="efa43ab3-f30d-49e0-8bcf-cbcf637d4549" providerId="ADAL" clId="{4E712592-0C39-4DDE-8B68-57BC30629A0C}" dt="2024-05-14T20:10:31.515" v="171" actId="47"/>
      <pc:docMkLst>
        <pc:docMk/>
      </pc:docMkLst>
      <pc:sldChg chg="add del">
        <pc:chgData name="CACERES SANDOVAL, EVA MARIA" userId="efa43ab3-f30d-49e0-8bcf-cbcf637d4549" providerId="ADAL" clId="{4E712592-0C39-4DDE-8B68-57BC30629A0C}" dt="2024-05-14T20:10:27.327" v="170"/>
        <pc:sldMkLst>
          <pc:docMk/>
          <pc:sldMk cId="3552216212" sldId="256"/>
        </pc:sldMkLst>
      </pc:sldChg>
      <pc:sldChg chg="modSp mod">
        <pc:chgData name="CACERES SANDOVAL, EVA MARIA" userId="efa43ab3-f30d-49e0-8bcf-cbcf637d4549" providerId="ADAL" clId="{4E712592-0C39-4DDE-8B68-57BC30629A0C}" dt="2024-05-07T15:57:30.487" v="131" actId="20577"/>
        <pc:sldMkLst>
          <pc:docMk/>
          <pc:sldMk cId="2739722213" sldId="257"/>
        </pc:sldMkLst>
        <pc:spChg chg="mod">
          <ac:chgData name="CACERES SANDOVAL, EVA MARIA" userId="efa43ab3-f30d-49e0-8bcf-cbcf637d4549" providerId="ADAL" clId="{4E712592-0C39-4DDE-8B68-57BC30629A0C}" dt="2024-05-07T15:57:30.487" v="131" actId="20577"/>
          <ac:spMkLst>
            <pc:docMk/>
            <pc:sldMk cId="2739722213" sldId="257"/>
            <ac:spMk id="2" creationId="{86E42F24-2B50-450C-B8D4-569FA409148F}"/>
          </ac:spMkLst>
        </pc:spChg>
      </pc:sldChg>
      <pc:sldChg chg="add">
        <pc:chgData name="CACERES SANDOVAL, EVA MARIA" userId="efa43ab3-f30d-49e0-8bcf-cbcf637d4549" providerId="ADAL" clId="{4E712592-0C39-4DDE-8B68-57BC30629A0C}" dt="2024-05-14T20:10:27.327" v="170"/>
        <pc:sldMkLst>
          <pc:docMk/>
          <pc:sldMk cId="0" sldId="258"/>
        </pc:sldMkLst>
      </pc:sldChg>
      <pc:sldChg chg="add">
        <pc:chgData name="CACERES SANDOVAL, EVA MARIA" userId="efa43ab3-f30d-49e0-8bcf-cbcf637d4549" providerId="ADAL" clId="{4E712592-0C39-4DDE-8B68-57BC30629A0C}" dt="2024-05-14T20:10:27.327" v="170"/>
        <pc:sldMkLst>
          <pc:docMk/>
          <pc:sldMk cId="1943600876" sldId="270"/>
        </pc:sldMkLst>
      </pc:sldChg>
      <pc:sldChg chg="add">
        <pc:chgData name="CACERES SANDOVAL, EVA MARIA" userId="efa43ab3-f30d-49e0-8bcf-cbcf637d4549" providerId="ADAL" clId="{4E712592-0C39-4DDE-8B68-57BC30629A0C}" dt="2024-05-14T20:10:27.327" v="170"/>
        <pc:sldMkLst>
          <pc:docMk/>
          <pc:sldMk cId="2286704298" sldId="285"/>
        </pc:sldMkLst>
      </pc:sldChg>
      <pc:sldChg chg="addSp delSp modSp del mod">
        <pc:chgData name="CACERES SANDOVAL, EVA MARIA" userId="efa43ab3-f30d-49e0-8bcf-cbcf637d4549" providerId="ADAL" clId="{4E712592-0C39-4DDE-8B68-57BC30629A0C}" dt="2024-05-14T20:10:31.515" v="171" actId="47"/>
        <pc:sldMkLst>
          <pc:docMk/>
          <pc:sldMk cId="487296857" sldId="289"/>
        </pc:sldMkLst>
        <pc:spChg chg="mod">
          <ac:chgData name="CACERES SANDOVAL, EVA MARIA" userId="efa43ab3-f30d-49e0-8bcf-cbcf637d4549" providerId="ADAL" clId="{4E712592-0C39-4DDE-8B68-57BC30629A0C}" dt="2024-05-07T15:56:58.150" v="61" actId="20577"/>
          <ac:spMkLst>
            <pc:docMk/>
            <pc:sldMk cId="487296857" sldId="289"/>
            <ac:spMk id="5" creationId="{A4C1D361-81C2-1FD0-0F8C-2477F245E3B2}"/>
          </ac:spMkLst>
        </pc:spChg>
        <pc:spChg chg="del">
          <ac:chgData name="CACERES SANDOVAL, EVA MARIA" userId="efa43ab3-f30d-49e0-8bcf-cbcf637d4549" providerId="ADAL" clId="{4E712592-0C39-4DDE-8B68-57BC30629A0C}" dt="2024-05-07T15:53:43.408" v="0" actId="478"/>
          <ac:spMkLst>
            <pc:docMk/>
            <pc:sldMk cId="487296857" sldId="289"/>
            <ac:spMk id="6" creationId="{66AD644A-77D9-47B3-1704-866013A5E0C1}"/>
          </ac:spMkLst>
        </pc:spChg>
        <pc:spChg chg="add del">
          <ac:chgData name="CACERES SANDOVAL, EVA MARIA" userId="efa43ab3-f30d-49e0-8bcf-cbcf637d4549" providerId="ADAL" clId="{4E712592-0C39-4DDE-8B68-57BC30629A0C}" dt="2024-05-07T16:22:47.062" v="160" actId="478"/>
          <ac:spMkLst>
            <pc:docMk/>
            <pc:sldMk cId="487296857" sldId="289"/>
            <ac:spMk id="8" creationId="{C5215887-2618-B25A-3AFD-CCE2B3E8393A}"/>
          </ac:spMkLst>
        </pc:spChg>
        <pc:spChg chg="add del mod">
          <ac:chgData name="CACERES SANDOVAL, EVA MARIA" userId="efa43ab3-f30d-49e0-8bcf-cbcf637d4549" providerId="ADAL" clId="{4E712592-0C39-4DDE-8B68-57BC30629A0C}" dt="2024-05-07T16:22:47.915" v="161" actId="478"/>
          <ac:spMkLst>
            <pc:docMk/>
            <pc:sldMk cId="487296857" sldId="289"/>
            <ac:spMk id="9" creationId="{F3A96504-48CD-FFE8-F7C2-2E64B7DACAFC}"/>
          </ac:spMkLst>
        </pc:spChg>
        <pc:spChg chg="add del mod">
          <ac:chgData name="CACERES SANDOVAL, EVA MARIA" userId="efa43ab3-f30d-49e0-8bcf-cbcf637d4549" providerId="ADAL" clId="{4E712592-0C39-4DDE-8B68-57BC30629A0C}" dt="2024-05-07T16:22:49.050" v="162" actId="478"/>
          <ac:spMkLst>
            <pc:docMk/>
            <pc:sldMk cId="487296857" sldId="289"/>
            <ac:spMk id="10" creationId="{4039C8E1-4102-58D1-E04F-4F3F3BD5B289}"/>
          </ac:spMkLst>
        </pc:spChg>
        <pc:spChg chg="add del mod">
          <ac:chgData name="CACERES SANDOVAL, EVA MARIA" userId="efa43ab3-f30d-49e0-8bcf-cbcf637d4549" providerId="ADAL" clId="{4E712592-0C39-4DDE-8B68-57BC30629A0C}" dt="2024-05-07T16:22:50.062" v="163" actId="478"/>
          <ac:spMkLst>
            <pc:docMk/>
            <pc:sldMk cId="487296857" sldId="289"/>
            <ac:spMk id="11" creationId="{30FFFEF0-601A-CD6C-2683-A5B4CA4C6C8F}"/>
          </ac:spMkLst>
        </pc:spChg>
        <pc:spChg chg="add del mod">
          <ac:chgData name="CACERES SANDOVAL, EVA MARIA" userId="efa43ab3-f30d-49e0-8bcf-cbcf637d4549" providerId="ADAL" clId="{4E712592-0C39-4DDE-8B68-57BC30629A0C}" dt="2024-05-07T16:22:50.604" v="164" actId="478"/>
          <ac:spMkLst>
            <pc:docMk/>
            <pc:sldMk cId="487296857" sldId="289"/>
            <ac:spMk id="12" creationId="{8E4FBA65-C34D-1108-451E-3889B44E97F5}"/>
          </ac:spMkLst>
        </pc:spChg>
        <pc:graphicFrameChg chg="add mod">
          <ac:chgData name="CACERES SANDOVAL, EVA MARIA" userId="efa43ab3-f30d-49e0-8bcf-cbcf637d4549" providerId="ADAL" clId="{4E712592-0C39-4DDE-8B68-57BC30629A0C}" dt="2024-05-07T16:26:19.768" v="167"/>
          <ac:graphicFrameMkLst>
            <pc:docMk/>
            <pc:sldMk cId="487296857" sldId="289"/>
            <ac:graphicFrameMk id="2" creationId="{0E6DA64F-28D6-030E-4E27-FE9CF06A8AD3}"/>
          </ac:graphicFrameMkLst>
        </pc:graphicFrameChg>
        <pc:graphicFrameChg chg="add del mod">
          <ac:chgData name="CACERES SANDOVAL, EVA MARIA" userId="efa43ab3-f30d-49e0-8bcf-cbcf637d4549" providerId="ADAL" clId="{4E712592-0C39-4DDE-8B68-57BC30629A0C}" dt="2024-05-07T15:53:45.626" v="2"/>
          <ac:graphicFrameMkLst>
            <pc:docMk/>
            <pc:sldMk cId="487296857" sldId="289"/>
            <ac:graphicFrameMk id="2" creationId="{F968A3A2-9C1F-A27A-94B5-B52ACE8AD9F9}"/>
          </ac:graphicFrameMkLst>
        </pc:graphicFrameChg>
        <pc:graphicFrameChg chg="add del mod">
          <ac:chgData name="CACERES SANDOVAL, EVA MARIA" userId="efa43ab3-f30d-49e0-8bcf-cbcf637d4549" providerId="ADAL" clId="{4E712592-0C39-4DDE-8B68-57BC30629A0C}" dt="2024-05-07T15:54:26.411" v="6" actId="478"/>
          <ac:graphicFrameMkLst>
            <pc:docMk/>
            <pc:sldMk cId="487296857" sldId="289"/>
            <ac:graphicFrameMk id="4" creationId="{37327B05-E6E7-E974-B566-10D9EC9046E7}"/>
          </ac:graphicFrameMkLst>
        </pc:graphicFrameChg>
        <pc:graphicFrameChg chg="add del mod modGraphic">
          <ac:chgData name="CACERES SANDOVAL, EVA MARIA" userId="efa43ab3-f30d-49e0-8bcf-cbcf637d4549" providerId="ADAL" clId="{4E712592-0C39-4DDE-8B68-57BC30629A0C}" dt="2024-05-07T16:26:16.127" v="166" actId="478"/>
          <ac:graphicFrameMkLst>
            <pc:docMk/>
            <pc:sldMk cId="487296857" sldId="289"/>
            <ac:graphicFrameMk id="7" creationId="{4E7B9E25-2655-4CFC-067D-1BB94C825240}"/>
          </ac:graphicFrameMkLst>
        </pc:graphicFrameChg>
        <pc:picChg chg="add del">
          <ac:chgData name="CACERES SANDOVAL, EVA MARIA" userId="efa43ab3-f30d-49e0-8bcf-cbcf637d4549" providerId="ADAL" clId="{4E712592-0C39-4DDE-8B68-57BC30629A0C}" dt="2024-05-07T15:53:50.014" v="4" actId="478"/>
          <ac:picMkLst>
            <pc:docMk/>
            <pc:sldMk cId="487296857" sldId="289"/>
            <ac:picMk id="3" creationId="{9F33695F-9D17-1856-A0EA-21A1186C7A82}"/>
          </ac:picMkLst>
        </pc:picChg>
      </pc:sldChg>
      <pc:sldChg chg="del">
        <pc:chgData name="CACERES SANDOVAL, EVA MARIA" userId="efa43ab3-f30d-49e0-8bcf-cbcf637d4549" providerId="ADAL" clId="{4E712592-0C39-4DDE-8B68-57BC30629A0C}" dt="2024-05-07T15:57:26.511" v="123" actId="47"/>
        <pc:sldMkLst>
          <pc:docMk/>
          <pc:sldMk cId="2008396866" sldId="291"/>
        </pc:sldMkLst>
      </pc:sldChg>
      <pc:sldChg chg="del">
        <pc:chgData name="CACERES SANDOVAL, EVA MARIA" userId="efa43ab3-f30d-49e0-8bcf-cbcf637d4549" providerId="ADAL" clId="{4E712592-0C39-4DDE-8B68-57BC30629A0C}" dt="2024-05-07T15:57:27.986" v="124" actId="47"/>
        <pc:sldMkLst>
          <pc:docMk/>
          <pc:sldMk cId="4055098130" sldId="292"/>
        </pc:sldMkLst>
      </pc:sldChg>
      <pc:sldChg chg="del">
        <pc:chgData name="CACERES SANDOVAL, EVA MARIA" userId="efa43ab3-f30d-49e0-8bcf-cbcf637d4549" providerId="ADAL" clId="{4E712592-0C39-4DDE-8B68-57BC30629A0C}" dt="2024-05-07T15:57:24.955" v="122" actId="47"/>
        <pc:sldMkLst>
          <pc:docMk/>
          <pc:sldMk cId="1505568778" sldId="293"/>
        </pc:sldMkLst>
      </pc:sldChg>
      <pc:sldChg chg="delSp modSp mod">
        <pc:chgData name="CACERES SANDOVAL, EVA MARIA" userId="efa43ab3-f30d-49e0-8bcf-cbcf637d4549" providerId="ADAL" clId="{4E712592-0C39-4DDE-8B68-57BC30629A0C}" dt="2024-05-07T15:57:20.279" v="121" actId="20577"/>
        <pc:sldMkLst>
          <pc:docMk/>
          <pc:sldMk cId="1911634418" sldId="294"/>
        </pc:sldMkLst>
        <pc:spChg chg="mod">
          <ac:chgData name="CACERES SANDOVAL, EVA MARIA" userId="efa43ab3-f30d-49e0-8bcf-cbcf637d4549" providerId="ADAL" clId="{4E712592-0C39-4DDE-8B68-57BC30629A0C}" dt="2024-05-07T15:57:09.477" v="105" actId="20577"/>
          <ac:spMkLst>
            <pc:docMk/>
            <pc:sldMk cId="1911634418" sldId="294"/>
            <ac:spMk id="2" creationId="{9E35DCEA-11FB-375E-BA08-3B2B59711278}"/>
          </ac:spMkLst>
        </pc:spChg>
        <pc:spChg chg="del">
          <ac:chgData name="CACERES SANDOVAL, EVA MARIA" userId="efa43ab3-f30d-49e0-8bcf-cbcf637d4549" providerId="ADAL" clId="{4E712592-0C39-4DDE-8B68-57BC30629A0C}" dt="2024-05-07T15:57:13.383" v="106" actId="478"/>
          <ac:spMkLst>
            <pc:docMk/>
            <pc:sldMk cId="1911634418" sldId="294"/>
            <ac:spMk id="3" creationId="{25B5B806-4657-2617-F2DB-11EB0FBF2980}"/>
          </ac:spMkLst>
        </pc:spChg>
        <pc:spChg chg="mod">
          <ac:chgData name="CACERES SANDOVAL, EVA MARIA" userId="efa43ab3-f30d-49e0-8bcf-cbcf637d4549" providerId="ADAL" clId="{4E712592-0C39-4DDE-8B68-57BC30629A0C}" dt="2024-05-07T15:57:20.279" v="121" actId="20577"/>
          <ac:spMkLst>
            <pc:docMk/>
            <pc:sldMk cId="1911634418" sldId="294"/>
            <ac:spMk id="4" creationId="{19A7A5CC-C7F1-1A88-CF54-31D5B8150FAD}"/>
          </ac:spMkLst>
        </pc:spChg>
      </pc:sldChg>
      <pc:sldChg chg="add">
        <pc:chgData name="CACERES SANDOVAL, EVA MARIA" userId="efa43ab3-f30d-49e0-8bcf-cbcf637d4549" providerId="ADAL" clId="{4E712592-0C39-4DDE-8B68-57BC30629A0C}" dt="2024-05-14T20:10:27.327" v="170"/>
        <pc:sldMkLst>
          <pc:docMk/>
          <pc:sldMk cId="2080095354" sldId="321"/>
        </pc:sldMkLst>
      </pc:sldChg>
      <pc:sldChg chg="add">
        <pc:chgData name="CACERES SANDOVAL, EVA MARIA" userId="efa43ab3-f30d-49e0-8bcf-cbcf637d4549" providerId="ADAL" clId="{4E712592-0C39-4DDE-8B68-57BC30629A0C}" dt="2024-05-14T20:10:27.327" v="170"/>
        <pc:sldMkLst>
          <pc:docMk/>
          <pc:sldMk cId="3173559739" sldId="322"/>
        </pc:sldMkLst>
      </pc:sldChg>
      <pc:sldChg chg="add">
        <pc:chgData name="CACERES SANDOVAL, EVA MARIA" userId="efa43ab3-f30d-49e0-8bcf-cbcf637d4549" providerId="ADAL" clId="{4E712592-0C39-4DDE-8B68-57BC30629A0C}" dt="2024-05-14T20:10:27.327" v="170"/>
        <pc:sldMkLst>
          <pc:docMk/>
          <pc:sldMk cId="106896717" sldId="323"/>
        </pc:sldMkLst>
      </pc:sldChg>
      <pc:sldChg chg="add">
        <pc:chgData name="CACERES SANDOVAL, EVA MARIA" userId="efa43ab3-f30d-49e0-8bcf-cbcf637d4549" providerId="ADAL" clId="{4E712592-0C39-4DDE-8B68-57BC30629A0C}" dt="2024-05-14T20:10:27.327" v="170"/>
        <pc:sldMkLst>
          <pc:docMk/>
          <pc:sldMk cId="2974186335" sldId="337"/>
        </pc:sldMkLst>
      </pc:sldChg>
      <pc:sldChg chg="add">
        <pc:chgData name="CACERES SANDOVAL, EVA MARIA" userId="efa43ab3-f30d-49e0-8bcf-cbcf637d4549" providerId="ADAL" clId="{4E712592-0C39-4DDE-8B68-57BC30629A0C}" dt="2024-05-14T20:10:27.327" v="170"/>
        <pc:sldMkLst>
          <pc:docMk/>
          <pc:sldMk cId="1931910032" sldId="338"/>
        </pc:sldMkLst>
      </pc:sldChg>
      <pc:sldChg chg="add">
        <pc:chgData name="CACERES SANDOVAL, EVA MARIA" userId="efa43ab3-f30d-49e0-8bcf-cbcf637d4549" providerId="ADAL" clId="{4E712592-0C39-4DDE-8B68-57BC30629A0C}" dt="2024-05-14T20:10:27.327" v="170"/>
        <pc:sldMkLst>
          <pc:docMk/>
          <pc:sldMk cId="1391939069" sldId="342"/>
        </pc:sldMkLst>
      </pc:sldChg>
      <pc:sldChg chg="add">
        <pc:chgData name="CACERES SANDOVAL, EVA MARIA" userId="efa43ab3-f30d-49e0-8bcf-cbcf637d4549" providerId="ADAL" clId="{4E712592-0C39-4DDE-8B68-57BC30629A0C}" dt="2024-05-14T20:10:27.327" v="170"/>
        <pc:sldMkLst>
          <pc:docMk/>
          <pc:sldMk cId="3068304750" sldId="4080"/>
        </pc:sldMkLst>
      </pc:sldChg>
      <pc:sldChg chg="add">
        <pc:chgData name="CACERES SANDOVAL, EVA MARIA" userId="efa43ab3-f30d-49e0-8bcf-cbcf637d4549" providerId="ADAL" clId="{4E712592-0C39-4DDE-8B68-57BC30629A0C}" dt="2024-05-14T20:10:27.327" v="170"/>
        <pc:sldMkLst>
          <pc:docMk/>
          <pc:sldMk cId="4078335500" sldId="4121"/>
        </pc:sldMkLst>
      </pc:sldChg>
      <pc:sldChg chg="add">
        <pc:chgData name="CACERES SANDOVAL, EVA MARIA" userId="efa43ab3-f30d-49e0-8bcf-cbcf637d4549" providerId="ADAL" clId="{4E712592-0C39-4DDE-8B68-57BC30629A0C}" dt="2024-05-14T20:10:27.327" v="170"/>
        <pc:sldMkLst>
          <pc:docMk/>
          <pc:sldMk cId="2609611502" sldId="4124"/>
        </pc:sldMkLst>
      </pc:sldChg>
      <pc:sldChg chg="add">
        <pc:chgData name="CACERES SANDOVAL, EVA MARIA" userId="efa43ab3-f30d-49e0-8bcf-cbcf637d4549" providerId="ADAL" clId="{4E712592-0C39-4DDE-8B68-57BC30629A0C}" dt="2024-05-14T20:10:27.327" v="170"/>
        <pc:sldMkLst>
          <pc:docMk/>
          <pc:sldMk cId="1493633827" sldId="4126"/>
        </pc:sldMkLst>
      </pc:sldChg>
      <pc:sldChg chg="add">
        <pc:chgData name="CACERES SANDOVAL, EVA MARIA" userId="efa43ab3-f30d-49e0-8bcf-cbcf637d4549" providerId="ADAL" clId="{4E712592-0C39-4DDE-8B68-57BC30629A0C}" dt="2024-05-14T20:10:27.327" v="170"/>
        <pc:sldMkLst>
          <pc:docMk/>
          <pc:sldMk cId="3391351729" sldId="4133"/>
        </pc:sldMkLst>
      </pc:sldChg>
      <pc:sldChg chg="add">
        <pc:chgData name="CACERES SANDOVAL, EVA MARIA" userId="efa43ab3-f30d-49e0-8bcf-cbcf637d4549" providerId="ADAL" clId="{4E712592-0C39-4DDE-8B68-57BC30629A0C}" dt="2024-05-14T20:10:27.327" v="170"/>
        <pc:sldMkLst>
          <pc:docMk/>
          <pc:sldMk cId="1185128486" sldId="4134"/>
        </pc:sldMkLst>
      </pc:sldChg>
      <pc:sldChg chg="add">
        <pc:chgData name="CACERES SANDOVAL, EVA MARIA" userId="efa43ab3-f30d-49e0-8bcf-cbcf637d4549" providerId="ADAL" clId="{4E712592-0C39-4DDE-8B68-57BC30629A0C}" dt="2024-05-14T20:10:27.327" v="170"/>
        <pc:sldMkLst>
          <pc:docMk/>
          <pc:sldMk cId="3543309772" sldId="6777"/>
        </pc:sldMkLst>
      </pc:sldChg>
      <pc:sldChg chg="add">
        <pc:chgData name="CACERES SANDOVAL, EVA MARIA" userId="efa43ab3-f30d-49e0-8bcf-cbcf637d4549" providerId="ADAL" clId="{4E712592-0C39-4DDE-8B68-57BC30629A0C}" dt="2024-05-14T20:10:27.327" v="170"/>
        <pc:sldMkLst>
          <pc:docMk/>
          <pc:sldMk cId="3149321003" sldId="6778"/>
        </pc:sldMkLst>
      </pc:sldChg>
      <pc:sldChg chg="add del">
        <pc:chgData name="CACERES SANDOVAL, EVA MARIA" userId="efa43ab3-f30d-49e0-8bcf-cbcf637d4549" providerId="ADAL" clId="{4E712592-0C39-4DDE-8B68-57BC30629A0C}" dt="2024-05-14T20:10:27.327" v="170"/>
        <pc:sldMkLst>
          <pc:docMk/>
          <pc:sldMk cId="3909832258" sldId="6786"/>
        </pc:sldMkLst>
      </pc:sldChg>
      <pc:sldChg chg="add">
        <pc:chgData name="CACERES SANDOVAL, EVA MARIA" userId="efa43ab3-f30d-49e0-8bcf-cbcf637d4549" providerId="ADAL" clId="{4E712592-0C39-4DDE-8B68-57BC30629A0C}" dt="2024-05-14T20:10:27.327" v="170"/>
        <pc:sldMkLst>
          <pc:docMk/>
          <pc:sldMk cId="2196945772" sldId="6790"/>
        </pc:sldMkLst>
      </pc:sldChg>
      <pc:sldChg chg="add">
        <pc:chgData name="CACERES SANDOVAL, EVA MARIA" userId="efa43ab3-f30d-49e0-8bcf-cbcf637d4549" providerId="ADAL" clId="{4E712592-0C39-4DDE-8B68-57BC30629A0C}" dt="2024-05-14T20:10:27.327" v="170"/>
        <pc:sldMkLst>
          <pc:docMk/>
          <pc:sldMk cId="2546688620" sldId="6806"/>
        </pc:sldMkLst>
      </pc:sldChg>
      <pc:sldChg chg="add">
        <pc:chgData name="CACERES SANDOVAL, EVA MARIA" userId="efa43ab3-f30d-49e0-8bcf-cbcf637d4549" providerId="ADAL" clId="{4E712592-0C39-4DDE-8B68-57BC30629A0C}" dt="2024-05-14T20:10:27.327" v="170"/>
        <pc:sldMkLst>
          <pc:docMk/>
          <pc:sldMk cId="382639941" sldId="6823"/>
        </pc:sldMkLst>
      </pc:sldChg>
      <pc:sldChg chg="add">
        <pc:chgData name="CACERES SANDOVAL, EVA MARIA" userId="efa43ab3-f30d-49e0-8bcf-cbcf637d4549" providerId="ADAL" clId="{4E712592-0C39-4DDE-8B68-57BC30629A0C}" dt="2024-05-14T20:10:27.327" v="170"/>
        <pc:sldMkLst>
          <pc:docMk/>
          <pc:sldMk cId="3109693794" sldId="6824"/>
        </pc:sldMkLst>
      </pc:sldChg>
      <pc:sldChg chg="add">
        <pc:chgData name="CACERES SANDOVAL, EVA MARIA" userId="efa43ab3-f30d-49e0-8bcf-cbcf637d4549" providerId="ADAL" clId="{4E712592-0C39-4DDE-8B68-57BC30629A0C}" dt="2024-05-14T20:10:27.327" v="170"/>
        <pc:sldMkLst>
          <pc:docMk/>
          <pc:sldMk cId="1106983411" sldId="6826"/>
        </pc:sldMkLst>
      </pc:sldChg>
      <pc:sldChg chg="add">
        <pc:chgData name="CACERES SANDOVAL, EVA MARIA" userId="efa43ab3-f30d-49e0-8bcf-cbcf637d4549" providerId="ADAL" clId="{4E712592-0C39-4DDE-8B68-57BC30629A0C}" dt="2024-05-14T20:10:27.327" v="170"/>
        <pc:sldMkLst>
          <pc:docMk/>
          <pc:sldMk cId="3453518329" sldId="6828"/>
        </pc:sldMkLst>
      </pc:sldChg>
      <pc:sldChg chg="add">
        <pc:chgData name="CACERES SANDOVAL, EVA MARIA" userId="efa43ab3-f30d-49e0-8bcf-cbcf637d4549" providerId="ADAL" clId="{4E712592-0C39-4DDE-8B68-57BC30629A0C}" dt="2024-05-14T20:10:27.327" v="170"/>
        <pc:sldMkLst>
          <pc:docMk/>
          <pc:sldMk cId="1004994322" sldId="6831"/>
        </pc:sldMkLst>
      </pc:sldChg>
      <pc:sldChg chg="add">
        <pc:chgData name="CACERES SANDOVAL, EVA MARIA" userId="efa43ab3-f30d-49e0-8bcf-cbcf637d4549" providerId="ADAL" clId="{4E712592-0C39-4DDE-8B68-57BC30629A0C}" dt="2024-05-14T20:10:27.327" v="170"/>
        <pc:sldMkLst>
          <pc:docMk/>
          <pc:sldMk cId="73515290" sldId="6832"/>
        </pc:sldMkLst>
      </pc:sldChg>
      <pc:sldChg chg="add">
        <pc:chgData name="CACERES SANDOVAL, EVA MARIA" userId="efa43ab3-f30d-49e0-8bcf-cbcf637d4549" providerId="ADAL" clId="{4E712592-0C39-4DDE-8B68-57BC30629A0C}" dt="2024-05-14T20:10:27.327" v="170"/>
        <pc:sldMkLst>
          <pc:docMk/>
          <pc:sldMk cId="757193118" sldId="6833"/>
        </pc:sldMkLst>
      </pc:sldChg>
      <pc:sldChg chg="add">
        <pc:chgData name="CACERES SANDOVAL, EVA MARIA" userId="efa43ab3-f30d-49e0-8bcf-cbcf637d4549" providerId="ADAL" clId="{4E712592-0C39-4DDE-8B68-57BC30629A0C}" dt="2024-05-14T20:10:27.327" v="170"/>
        <pc:sldMkLst>
          <pc:docMk/>
          <pc:sldMk cId="1626777162" sldId="6834"/>
        </pc:sldMkLst>
      </pc:sldChg>
      <pc:sldChg chg="add">
        <pc:chgData name="CACERES SANDOVAL, EVA MARIA" userId="efa43ab3-f30d-49e0-8bcf-cbcf637d4549" providerId="ADAL" clId="{4E712592-0C39-4DDE-8B68-57BC30629A0C}" dt="2024-05-14T20:10:27.327" v="170"/>
        <pc:sldMkLst>
          <pc:docMk/>
          <pc:sldMk cId="2146841221" sldId="6835"/>
        </pc:sldMkLst>
      </pc:sldChg>
      <pc:sldChg chg="add">
        <pc:chgData name="CACERES SANDOVAL, EVA MARIA" userId="efa43ab3-f30d-49e0-8bcf-cbcf637d4549" providerId="ADAL" clId="{4E712592-0C39-4DDE-8B68-57BC30629A0C}" dt="2024-05-14T20:10:27.327" v="170"/>
        <pc:sldMkLst>
          <pc:docMk/>
          <pc:sldMk cId="3769415539" sldId="6836"/>
        </pc:sldMkLst>
      </pc:sldChg>
      <pc:sldChg chg="add">
        <pc:chgData name="CACERES SANDOVAL, EVA MARIA" userId="efa43ab3-f30d-49e0-8bcf-cbcf637d4549" providerId="ADAL" clId="{4E712592-0C39-4DDE-8B68-57BC30629A0C}" dt="2024-05-14T20:10:27.327" v="170"/>
        <pc:sldMkLst>
          <pc:docMk/>
          <pc:sldMk cId="3212331134" sldId="6837"/>
        </pc:sldMkLst>
      </pc:sldChg>
      <pc:sldChg chg="add">
        <pc:chgData name="CACERES SANDOVAL, EVA MARIA" userId="efa43ab3-f30d-49e0-8bcf-cbcf637d4549" providerId="ADAL" clId="{4E712592-0C39-4DDE-8B68-57BC30629A0C}" dt="2024-05-14T20:10:27.327" v="170"/>
        <pc:sldMkLst>
          <pc:docMk/>
          <pc:sldMk cId="1476010087" sldId="6838"/>
        </pc:sldMkLst>
      </pc:sldChg>
      <pc:sldChg chg="add">
        <pc:chgData name="CACERES SANDOVAL, EVA MARIA" userId="efa43ab3-f30d-49e0-8bcf-cbcf637d4549" providerId="ADAL" clId="{4E712592-0C39-4DDE-8B68-57BC30629A0C}" dt="2024-05-14T20:10:27.327" v="170"/>
        <pc:sldMkLst>
          <pc:docMk/>
          <pc:sldMk cId="4068326032" sldId="6839"/>
        </pc:sldMkLst>
      </pc:sldChg>
      <pc:sldChg chg="add">
        <pc:chgData name="CACERES SANDOVAL, EVA MARIA" userId="efa43ab3-f30d-49e0-8bcf-cbcf637d4549" providerId="ADAL" clId="{4E712592-0C39-4DDE-8B68-57BC30629A0C}" dt="2024-05-14T20:10:27.327" v="170"/>
        <pc:sldMkLst>
          <pc:docMk/>
          <pc:sldMk cId="2773199709" sldId="6840"/>
        </pc:sldMkLst>
      </pc:sldChg>
      <pc:sldChg chg="add">
        <pc:chgData name="CACERES SANDOVAL, EVA MARIA" userId="efa43ab3-f30d-49e0-8bcf-cbcf637d4549" providerId="ADAL" clId="{4E712592-0C39-4DDE-8B68-57BC30629A0C}" dt="2024-05-14T20:10:27.327" v="170"/>
        <pc:sldMkLst>
          <pc:docMk/>
          <pc:sldMk cId="3909895322" sldId="8122"/>
        </pc:sldMkLst>
      </pc:sldChg>
      <pc:sldChg chg="add">
        <pc:chgData name="CACERES SANDOVAL, EVA MARIA" userId="efa43ab3-f30d-49e0-8bcf-cbcf637d4549" providerId="ADAL" clId="{4E712592-0C39-4DDE-8B68-57BC30629A0C}" dt="2024-05-14T20:10:27.327" v="170"/>
        <pc:sldMkLst>
          <pc:docMk/>
          <pc:sldMk cId="868708376" sldId="8124"/>
        </pc:sldMkLst>
      </pc:sldChg>
      <pc:sldChg chg="add">
        <pc:chgData name="CACERES SANDOVAL, EVA MARIA" userId="efa43ab3-f30d-49e0-8bcf-cbcf637d4549" providerId="ADAL" clId="{4E712592-0C39-4DDE-8B68-57BC30629A0C}" dt="2024-05-14T20:10:27.327" v="170"/>
        <pc:sldMkLst>
          <pc:docMk/>
          <pc:sldMk cId="1013133411" sldId="8126"/>
        </pc:sldMkLst>
      </pc:sldChg>
      <pc:sldChg chg="add">
        <pc:chgData name="CACERES SANDOVAL, EVA MARIA" userId="efa43ab3-f30d-49e0-8bcf-cbcf637d4549" providerId="ADAL" clId="{4E712592-0C39-4DDE-8B68-57BC30629A0C}" dt="2024-05-14T20:10:27.327" v="170"/>
        <pc:sldMkLst>
          <pc:docMk/>
          <pc:sldMk cId="702247926" sldId="8127"/>
        </pc:sldMkLst>
      </pc:sldChg>
      <pc:sldChg chg="add">
        <pc:chgData name="CACERES SANDOVAL, EVA MARIA" userId="efa43ab3-f30d-49e0-8bcf-cbcf637d4549" providerId="ADAL" clId="{4E712592-0C39-4DDE-8B68-57BC30629A0C}" dt="2024-05-14T20:10:27.327" v="170"/>
        <pc:sldMkLst>
          <pc:docMk/>
          <pc:sldMk cId="182191403" sldId="8128"/>
        </pc:sldMkLst>
      </pc:sldChg>
      <pc:sldChg chg="add">
        <pc:chgData name="CACERES SANDOVAL, EVA MARIA" userId="efa43ab3-f30d-49e0-8bcf-cbcf637d4549" providerId="ADAL" clId="{4E712592-0C39-4DDE-8B68-57BC30629A0C}" dt="2024-05-14T20:10:27.327" v="170"/>
        <pc:sldMkLst>
          <pc:docMk/>
          <pc:sldMk cId="2382528063" sldId="8129"/>
        </pc:sldMkLst>
      </pc:sldChg>
      <pc:sldChg chg="add">
        <pc:chgData name="CACERES SANDOVAL, EVA MARIA" userId="efa43ab3-f30d-49e0-8bcf-cbcf637d4549" providerId="ADAL" clId="{4E712592-0C39-4DDE-8B68-57BC30629A0C}" dt="2024-05-14T20:10:27.327" v="170"/>
        <pc:sldMkLst>
          <pc:docMk/>
          <pc:sldMk cId="3370683655" sldId="8130"/>
        </pc:sldMkLst>
      </pc:sldChg>
      <pc:sldChg chg="add">
        <pc:chgData name="CACERES SANDOVAL, EVA MARIA" userId="efa43ab3-f30d-49e0-8bcf-cbcf637d4549" providerId="ADAL" clId="{4E712592-0C39-4DDE-8B68-57BC30629A0C}" dt="2024-05-14T20:10:27.327" v="170"/>
        <pc:sldMkLst>
          <pc:docMk/>
          <pc:sldMk cId="3605014265" sldId="8131"/>
        </pc:sldMkLst>
      </pc:sldChg>
      <pc:sldChg chg="add">
        <pc:chgData name="CACERES SANDOVAL, EVA MARIA" userId="efa43ab3-f30d-49e0-8bcf-cbcf637d4549" providerId="ADAL" clId="{4E712592-0C39-4DDE-8B68-57BC30629A0C}" dt="2024-05-14T20:10:27.327" v="170"/>
        <pc:sldMkLst>
          <pc:docMk/>
          <pc:sldMk cId="1182528563" sldId="8132"/>
        </pc:sldMkLst>
      </pc:sldChg>
    </pc:docChg>
  </pc:docChgLst>
  <pc:docChgLst>
    <pc:chgData name="CACERES SANDOVAL, EVA MARIA" userId="efa43ab3-f30d-49e0-8bcf-cbcf637d4549" providerId="ADAL" clId="{6A330D84-F627-4444-B263-40F0F2DBEFBD}"/>
    <pc:docChg chg="custSel modSld">
      <pc:chgData name="CACERES SANDOVAL, EVA MARIA" userId="efa43ab3-f30d-49e0-8bcf-cbcf637d4549" providerId="ADAL" clId="{6A330D84-F627-4444-B263-40F0F2DBEFBD}" dt="2025-01-15T19:47:13.309" v="192" actId="114"/>
      <pc:docMkLst>
        <pc:docMk/>
      </pc:docMkLst>
      <pc:sldChg chg="addSp delSp modSp mod">
        <pc:chgData name="CACERES SANDOVAL, EVA MARIA" userId="efa43ab3-f30d-49e0-8bcf-cbcf637d4549" providerId="ADAL" clId="{6A330D84-F627-4444-B263-40F0F2DBEFBD}" dt="2025-01-15T16:34:06.672" v="112" actId="208"/>
        <pc:sldMkLst>
          <pc:docMk/>
          <pc:sldMk cId="3697566562" sldId="278"/>
        </pc:sldMkLst>
        <pc:spChg chg="mod">
          <ac:chgData name="CACERES SANDOVAL, EVA MARIA" userId="efa43ab3-f30d-49e0-8bcf-cbcf637d4549" providerId="ADAL" clId="{6A330D84-F627-4444-B263-40F0F2DBEFBD}" dt="2025-01-15T16:30:29.324" v="55" actId="20577"/>
          <ac:spMkLst>
            <pc:docMk/>
            <pc:sldMk cId="3697566562" sldId="278"/>
            <ac:spMk id="3" creationId="{A74000BB-01C3-44BA-816C-04CA7BEBCF72}"/>
          </ac:spMkLst>
        </pc:spChg>
        <pc:spChg chg="mod">
          <ac:chgData name="CACERES SANDOVAL, EVA MARIA" userId="efa43ab3-f30d-49e0-8bcf-cbcf637d4549" providerId="ADAL" clId="{6A330D84-F627-4444-B263-40F0F2DBEFBD}" dt="2025-01-15T16:33:42.544" v="106" actId="1038"/>
          <ac:spMkLst>
            <pc:docMk/>
            <pc:sldMk cId="3697566562" sldId="278"/>
            <ac:spMk id="6" creationId="{6C1E2C2E-24E6-2DB4-39F5-CB11C3842301}"/>
          </ac:spMkLst>
        </pc:spChg>
        <pc:spChg chg="del mod">
          <ac:chgData name="CACERES SANDOVAL, EVA MARIA" userId="efa43ab3-f30d-49e0-8bcf-cbcf637d4549" providerId="ADAL" clId="{6A330D84-F627-4444-B263-40F0F2DBEFBD}" dt="2025-01-15T16:33:30.919" v="81" actId="478"/>
          <ac:spMkLst>
            <pc:docMk/>
            <pc:sldMk cId="3697566562" sldId="278"/>
            <ac:spMk id="8" creationId="{0C15AD5F-2605-F10F-A40A-B2DCE140072D}"/>
          </ac:spMkLst>
        </pc:spChg>
        <pc:spChg chg="mod">
          <ac:chgData name="CACERES SANDOVAL, EVA MARIA" userId="efa43ab3-f30d-49e0-8bcf-cbcf637d4549" providerId="ADAL" clId="{6A330D84-F627-4444-B263-40F0F2DBEFBD}" dt="2025-01-15T16:33:59.465" v="111" actId="1037"/>
          <ac:spMkLst>
            <pc:docMk/>
            <pc:sldMk cId="3697566562" sldId="278"/>
            <ac:spMk id="11" creationId="{DB2AFE03-F3DA-ED5E-0F58-FB1B85F2393B}"/>
          </ac:spMkLst>
        </pc:spChg>
        <pc:spChg chg="mod">
          <ac:chgData name="CACERES SANDOVAL, EVA MARIA" userId="efa43ab3-f30d-49e0-8bcf-cbcf637d4549" providerId="ADAL" clId="{6A330D84-F627-4444-B263-40F0F2DBEFBD}" dt="2025-01-15T16:33:26.809" v="80" actId="1037"/>
          <ac:spMkLst>
            <pc:docMk/>
            <pc:sldMk cId="3697566562" sldId="278"/>
            <ac:spMk id="12" creationId="{2A5F4AE4-3F90-D5B0-F07F-FF52C44102BB}"/>
          </ac:spMkLst>
        </pc:spChg>
        <pc:spChg chg="mod">
          <ac:chgData name="CACERES SANDOVAL, EVA MARIA" userId="efa43ab3-f30d-49e0-8bcf-cbcf637d4549" providerId="ADAL" clId="{6A330D84-F627-4444-B263-40F0F2DBEFBD}" dt="2025-01-15T16:33:38.203" v="96" actId="1038"/>
          <ac:spMkLst>
            <pc:docMk/>
            <pc:sldMk cId="3697566562" sldId="278"/>
            <ac:spMk id="13" creationId="{C8A49855-0EE7-D7DF-868F-8404FC0A1B83}"/>
          </ac:spMkLst>
        </pc:spChg>
        <pc:picChg chg="del">
          <ac:chgData name="CACERES SANDOVAL, EVA MARIA" userId="efa43ab3-f30d-49e0-8bcf-cbcf637d4549" providerId="ADAL" clId="{6A330D84-F627-4444-B263-40F0F2DBEFBD}" dt="2025-01-15T16:30:37.750" v="56" actId="478"/>
          <ac:picMkLst>
            <pc:docMk/>
            <pc:sldMk cId="3697566562" sldId="278"/>
            <ac:picMk id="5" creationId="{93C84370-A5B6-27F6-2289-75A9510A33EE}"/>
          </ac:picMkLst>
        </pc:picChg>
        <pc:picChg chg="add mod ord">
          <ac:chgData name="CACERES SANDOVAL, EVA MARIA" userId="efa43ab3-f30d-49e0-8bcf-cbcf637d4549" providerId="ADAL" clId="{6A330D84-F627-4444-B263-40F0F2DBEFBD}" dt="2025-01-15T16:34:06.672" v="112" actId="208"/>
          <ac:picMkLst>
            <pc:docMk/>
            <pc:sldMk cId="3697566562" sldId="278"/>
            <ac:picMk id="7" creationId="{C58F4497-DB4E-40DF-B3CA-D01A407AD69D}"/>
          </ac:picMkLst>
        </pc:picChg>
      </pc:sldChg>
      <pc:sldChg chg="modSp mod">
        <pc:chgData name="CACERES SANDOVAL, EVA MARIA" userId="efa43ab3-f30d-49e0-8bcf-cbcf637d4549" providerId="ADAL" clId="{6A330D84-F627-4444-B263-40F0F2DBEFBD}" dt="2025-01-15T16:30:11.804" v="35" actId="20577"/>
        <pc:sldMkLst>
          <pc:docMk/>
          <pc:sldMk cId="1911634418" sldId="294"/>
        </pc:sldMkLst>
        <pc:spChg chg="mod">
          <ac:chgData name="CACERES SANDOVAL, EVA MARIA" userId="efa43ab3-f30d-49e0-8bcf-cbcf637d4549" providerId="ADAL" clId="{6A330D84-F627-4444-B263-40F0F2DBEFBD}" dt="2025-01-15T16:25:01.957" v="24" actId="20577"/>
          <ac:spMkLst>
            <pc:docMk/>
            <pc:sldMk cId="1911634418" sldId="294"/>
            <ac:spMk id="2" creationId="{9E35DCEA-11FB-375E-BA08-3B2B59711278}"/>
          </ac:spMkLst>
        </pc:spChg>
        <pc:spChg chg="mod">
          <ac:chgData name="CACERES SANDOVAL, EVA MARIA" userId="efa43ab3-f30d-49e0-8bcf-cbcf637d4549" providerId="ADAL" clId="{6A330D84-F627-4444-B263-40F0F2DBEFBD}" dt="2025-01-15T16:30:11.804" v="35" actId="20577"/>
          <ac:spMkLst>
            <pc:docMk/>
            <pc:sldMk cId="1911634418" sldId="294"/>
            <ac:spMk id="4" creationId="{19A7A5CC-C7F1-1A88-CF54-31D5B8150FAD}"/>
          </ac:spMkLst>
        </pc:spChg>
      </pc:sldChg>
      <pc:sldChg chg="addSp delSp modSp mod">
        <pc:chgData name="CACERES SANDOVAL, EVA MARIA" userId="efa43ab3-f30d-49e0-8bcf-cbcf637d4549" providerId="ADAL" clId="{6A330D84-F627-4444-B263-40F0F2DBEFBD}" dt="2025-01-15T16:53:18.468" v="162" actId="478"/>
        <pc:sldMkLst>
          <pc:docMk/>
          <pc:sldMk cId="431565556" sldId="931"/>
        </pc:sldMkLst>
        <pc:spChg chg="mod">
          <ac:chgData name="CACERES SANDOVAL, EVA MARIA" userId="efa43ab3-f30d-49e0-8bcf-cbcf637d4549" providerId="ADAL" clId="{6A330D84-F627-4444-B263-40F0F2DBEFBD}" dt="2025-01-15T16:49:16.421" v="157" actId="1076"/>
          <ac:spMkLst>
            <pc:docMk/>
            <pc:sldMk cId="431565556" sldId="931"/>
            <ac:spMk id="17" creationId="{2F1D8672-4D91-CDB6-8FFF-8DDBD730B453}"/>
          </ac:spMkLst>
        </pc:spChg>
        <pc:picChg chg="del">
          <ac:chgData name="CACERES SANDOVAL, EVA MARIA" userId="efa43ab3-f30d-49e0-8bcf-cbcf637d4549" providerId="ADAL" clId="{6A330D84-F627-4444-B263-40F0F2DBEFBD}" dt="2025-01-15T16:48:54.115" v="147" actId="478"/>
          <ac:picMkLst>
            <pc:docMk/>
            <pc:sldMk cId="431565556" sldId="931"/>
            <ac:picMk id="5" creationId="{353E1655-042C-6893-4B00-4C745212DD70}"/>
          </ac:picMkLst>
        </pc:picChg>
        <pc:picChg chg="add mod">
          <ac:chgData name="CACERES SANDOVAL, EVA MARIA" userId="efa43ab3-f30d-49e0-8bcf-cbcf637d4549" providerId="ADAL" clId="{6A330D84-F627-4444-B263-40F0F2DBEFBD}" dt="2025-01-15T16:49:07.574" v="155" actId="1076"/>
          <ac:picMkLst>
            <pc:docMk/>
            <pc:sldMk cId="431565556" sldId="931"/>
            <ac:picMk id="6" creationId="{67879C21-D249-CB69-D5AC-39D3CDC49981}"/>
          </ac:picMkLst>
        </pc:picChg>
        <pc:picChg chg="del mod">
          <ac:chgData name="CACERES SANDOVAL, EVA MARIA" userId="efa43ab3-f30d-49e0-8bcf-cbcf637d4549" providerId="ADAL" clId="{6A330D84-F627-4444-B263-40F0F2DBEFBD}" dt="2025-01-15T16:53:18.468" v="162" actId="478"/>
          <ac:picMkLst>
            <pc:docMk/>
            <pc:sldMk cId="431565556" sldId="931"/>
            <ac:picMk id="11" creationId="{C4ED754C-E6A1-13E7-5DF6-79F90B0FB746}"/>
          </ac:picMkLst>
        </pc:picChg>
      </pc:sldChg>
      <pc:sldChg chg="modSp mod">
        <pc:chgData name="CACERES SANDOVAL, EVA MARIA" userId="efa43ab3-f30d-49e0-8bcf-cbcf637d4549" providerId="ADAL" clId="{6A330D84-F627-4444-B263-40F0F2DBEFBD}" dt="2025-01-15T19:47:13.309" v="192" actId="114"/>
        <pc:sldMkLst>
          <pc:docMk/>
          <pc:sldMk cId="915978399" sldId="935"/>
        </pc:sldMkLst>
        <pc:spChg chg="mod">
          <ac:chgData name="CACERES SANDOVAL, EVA MARIA" userId="efa43ab3-f30d-49e0-8bcf-cbcf637d4549" providerId="ADAL" clId="{6A330D84-F627-4444-B263-40F0F2DBEFBD}" dt="2025-01-15T19:47:13.309" v="192" actId="114"/>
          <ac:spMkLst>
            <pc:docMk/>
            <pc:sldMk cId="915978399" sldId="935"/>
            <ac:spMk id="3" creationId="{DDC1E40E-29AE-B484-AD90-81E70EF536C7}"/>
          </ac:spMkLst>
        </pc:spChg>
        <pc:spChg chg="mod">
          <ac:chgData name="CACERES SANDOVAL, EVA MARIA" userId="efa43ab3-f30d-49e0-8bcf-cbcf637d4549" providerId="ADAL" clId="{6A330D84-F627-4444-B263-40F0F2DBEFBD}" dt="2025-01-15T16:47:13.110" v="125" actId="207"/>
          <ac:spMkLst>
            <pc:docMk/>
            <pc:sldMk cId="915978399" sldId="935"/>
            <ac:spMk id="10" creationId="{7F56BBAB-7B32-5F91-896F-33F06B98BD7F}"/>
          </ac:spMkLst>
        </pc:spChg>
      </pc:sldChg>
      <pc:sldChg chg="delSp mod">
        <pc:chgData name="CACERES SANDOVAL, EVA MARIA" userId="efa43ab3-f30d-49e0-8bcf-cbcf637d4549" providerId="ADAL" clId="{6A330D84-F627-4444-B263-40F0F2DBEFBD}" dt="2025-01-15T16:46:35.802" v="123" actId="478"/>
        <pc:sldMkLst>
          <pc:docMk/>
          <pc:sldMk cId="4091519663" sldId="8132"/>
        </pc:sldMkLst>
        <pc:picChg chg="del">
          <ac:chgData name="CACERES SANDOVAL, EVA MARIA" userId="efa43ab3-f30d-49e0-8bcf-cbcf637d4549" providerId="ADAL" clId="{6A330D84-F627-4444-B263-40F0F2DBEFBD}" dt="2025-01-15T16:46:35.802" v="123" actId="478"/>
          <ac:picMkLst>
            <pc:docMk/>
            <pc:sldMk cId="4091519663" sldId="8132"/>
            <ac:picMk id="3" creationId="{84C3DAD1-4D89-F3C0-89FD-5F95ADF5F7CD}"/>
          </ac:picMkLst>
        </pc:picChg>
      </pc:sldChg>
      <pc:sldChg chg="modSp mod">
        <pc:chgData name="CACERES SANDOVAL, EVA MARIA" userId="efa43ab3-f30d-49e0-8bcf-cbcf637d4549" providerId="ADAL" clId="{6A330D84-F627-4444-B263-40F0F2DBEFBD}" dt="2025-01-15T16:46:31.678" v="122" actId="20577"/>
        <pc:sldMkLst>
          <pc:docMk/>
          <pc:sldMk cId="1678311024" sldId="8136"/>
        </pc:sldMkLst>
        <pc:spChg chg="mod">
          <ac:chgData name="CACERES SANDOVAL, EVA MARIA" userId="efa43ab3-f30d-49e0-8bcf-cbcf637d4549" providerId="ADAL" clId="{6A330D84-F627-4444-B263-40F0F2DBEFBD}" dt="2025-01-15T16:46:31.678" v="122" actId="20577"/>
          <ac:spMkLst>
            <pc:docMk/>
            <pc:sldMk cId="1678311024" sldId="8136"/>
            <ac:spMk id="4" creationId="{19A7A5CC-C7F1-1A88-CF54-31D5B8150FAD}"/>
          </ac:spMkLst>
        </pc:spChg>
      </pc:sldChg>
      <pc:sldChg chg="modSp mod">
        <pc:chgData name="CACERES SANDOVAL, EVA MARIA" userId="efa43ab3-f30d-49e0-8bcf-cbcf637d4549" providerId="ADAL" clId="{6A330D84-F627-4444-B263-40F0F2DBEFBD}" dt="2025-01-15T19:38:23.207" v="191" actId="20577"/>
        <pc:sldMkLst>
          <pc:docMk/>
          <pc:sldMk cId="1685050724" sldId="8137"/>
        </pc:sldMkLst>
        <pc:spChg chg="mod">
          <ac:chgData name="CACERES SANDOVAL, EVA MARIA" userId="efa43ab3-f30d-49e0-8bcf-cbcf637d4549" providerId="ADAL" clId="{6A330D84-F627-4444-B263-40F0F2DBEFBD}" dt="2025-01-15T19:38:23.207" v="191" actId="20577"/>
          <ac:spMkLst>
            <pc:docMk/>
            <pc:sldMk cId="1685050724" sldId="8137"/>
            <ac:spMk id="2" creationId="{9E35DCEA-11FB-375E-BA08-3B2B59711278}"/>
          </ac:spMkLst>
        </pc:spChg>
      </pc:sldChg>
    </pc:docChg>
  </pc:docChgLst>
  <pc:docChgLst>
    <pc:chgData name="CACERES SANDOVAL, EVA MARIA" userId="efa43ab3-f30d-49e0-8bcf-cbcf637d4549" providerId="ADAL" clId="{1C69FA45-7766-4AEA-9086-E66B1BA7F37C}"/>
    <pc:docChg chg="modSld">
      <pc:chgData name="CACERES SANDOVAL, EVA MARIA" userId="efa43ab3-f30d-49e0-8bcf-cbcf637d4549" providerId="ADAL" clId="{1C69FA45-7766-4AEA-9086-E66B1BA7F37C}" dt="2025-01-20T12:53:32.970" v="27" actId="20577"/>
      <pc:docMkLst>
        <pc:docMk/>
      </pc:docMkLst>
      <pc:sldChg chg="modSp mod">
        <pc:chgData name="CACERES SANDOVAL, EVA MARIA" userId="efa43ab3-f30d-49e0-8bcf-cbcf637d4549" providerId="ADAL" clId="{1C69FA45-7766-4AEA-9086-E66B1BA7F37C}" dt="2025-01-20T12:53:32.970" v="27" actId="20577"/>
        <pc:sldMkLst>
          <pc:docMk/>
          <pc:sldMk cId="3697566562" sldId="278"/>
        </pc:sldMkLst>
        <pc:spChg chg="mod">
          <ac:chgData name="CACERES SANDOVAL, EVA MARIA" userId="efa43ab3-f30d-49e0-8bcf-cbcf637d4549" providerId="ADAL" clId="{1C69FA45-7766-4AEA-9086-E66B1BA7F37C}" dt="2025-01-20T12:53:32.970" v="27" actId="20577"/>
          <ac:spMkLst>
            <pc:docMk/>
            <pc:sldMk cId="3697566562" sldId="278"/>
            <ac:spMk id="3" creationId="{A74000BB-01C3-44BA-816C-04CA7BEBCF72}"/>
          </ac:spMkLst>
        </pc:spChg>
        <pc:spChg chg="mod">
          <ac:chgData name="CACERES SANDOVAL, EVA MARIA" userId="efa43ab3-f30d-49e0-8bcf-cbcf637d4549" providerId="ADAL" clId="{1C69FA45-7766-4AEA-9086-E66B1BA7F37C}" dt="2025-01-20T12:53:14.084" v="3" actId="1076"/>
          <ac:spMkLst>
            <pc:docMk/>
            <pc:sldMk cId="3697566562" sldId="278"/>
            <ac:spMk id="6" creationId="{6C1E2C2E-24E6-2DB4-39F5-CB11C3842301}"/>
          </ac:spMkLst>
        </pc:spChg>
        <pc:spChg chg="mod">
          <ac:chgData name="CACERES SANDOVAL, EVA MARIA" userId="efa43ab3-f30d-49e0-8bcf-cbcf637d4549" providerId="ADAL" clId="{1C69FA45-7766-4AEA-9086-E66B1BA7F37C}" dt="2025-01-20T12:53:06.261" v="0" actId="1076"/>
          <ac:spMkLst>
            <pc:docMk/>
            <pc:sldMk cId="3697566562" sldId="278"/>
            <ac:spMk id="11" creationId="{DB2AFE03-F3DA-ED5E-0F58-FB1B85F2393B}"/>
          </ac:spMkLst>
        </pc:spChg>
        <pc:spChg chg="mod">
          <ac:chgData name="CACERES SANDOVAL, EVA MARIA" userId="efa43ab3-f30d-49e0-8bcf-cbcf637d4549" providerId="ADAL" clId="{1C69FA45-7766-4AEA-9086-E66B1BA7F37C}" dt="2025-01-20T12:53:08.459" v="1" actId="1076"/>
          <ac:spMkLst>
            <pc:docMk/>
            <pc:sldMk cId="3697566562" sldId="278"/>
            <ac:spMk id="12" creationId="{2A5F4AE4-3F90-D5B0-F07F-FF52C44102BB}"/>
          </ac:spMkLst>
        </pc:spChg>
        <pc:spChg chg="mod">
          <ac:chgData name="CACERES SANDOVAL, EVA MARIA" userId="efa43ab3-f30d-49e0-8bcf-cbcf637d4549" providerId="ADAL" clId="{1C69FA45-7766-4AEA-9086-E66B1BA7F37C}" dt="2025-01-20T12:53:10.965" v="2" actId="1076"/>
          <ac:spMkLst>
            <pc:docMk/>
            <pc:sldMk cId="3697566562" sldId="278"/>
            <ac:spMk id="13" creationId="{C8A49855-0EE7-D7DF-868F-8404FC0A1B8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cat>
            <c:strRef>
              <c:f>Sheet1!$A$2:$A$3</c:f>
              <c:strCache>
                <c:ptCount val="1"/>
                <c:pt idx="0">
                  <c:v>Category 1</c:v>
                </c:pt>
              </c:strCache>
            </c:strRef>
          </c:cat>
          <c:val>
            <c:numRef>
              <c:f>Sheet1!$B$2:$B$3</c:f>
              <c:numCache>
                <c:formatCode>General</c:formatCode>
                <c:ptCount val="2"/>
                <c:pt idx="0">
                  <c:v>5</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1"/>
                <c:pt idx="0">
                  <c:v>Category 1</c:v>
                </c:pt>
              </c:strCache>
            </c:strRef>
          </c:cat>
          <c:val>
            <c:numRef>
              <c:f>Sheet1!$C$2:$C$3</c:f>
              <c:numCache>
                <c:formatCode>General</c:formatCode>
                <c:ptCount val="2"/>
                <c:pt idx="0">
                  <c:v>3</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1"/>
                <c:pt idx="0">
                  <c:v>Category 1</c:v>
                </c:pt>
              </c:strCache>
            </c:strRef>
          </c:cat>
          <c:val>
            <c:numRef>
              <c:f>Sheet1!$D$2:$D$3</c:f>
              <c:numCache>
                <c:formatCode>General</c:formatCode>
                <c:ptCount val="2"/>
                <c:pt idx="0">
                  <c:v>2.5</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27B3D3"/>
            </a:solidFill>
            <a:ln>
              <a:noFill/>
            </a:ln>
            <a:effectLst/>
          </c:spPr>
          <c:invertIfNegative val="0"/>
          <c:cat>
            <c:strRef>
              <c:f>Sheet1!$A$2:$A$3</c:f>
              <c:strCache>
                <c:ptCount val="1"/>
                <c:pt idx="0">
                  <c:v>Category 1</c:v>
                </c:pt>
              </c:strCache>
            </c:strRef>
          </c:cat>
          <c:val>
            <c:numRef>
              <c:f>Sheet1!$E$2:$E$3</c:f>
              <c:numCache>
                <c:formatCode>General</c:formatCode>
                <c:ptCount val="2"/>
                <c:pt idx="0">
                  <c:v>3</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0088BA"/>
            </a:solidFill>
            <a:ln>
              <a:noFill/>
            </a:ln>
            <a:effectLst/>
          </c:spPr>
          <c:invertIfNegative val="0"/>
          <c:cat>
            <c:strRef>
              <c:f>Sheet1!$A$2:$A$3</c:f>
              <c:strCache>
                <c:ptCount val="1"/>
                <c:pt idx="0">
                  <c:v>Category 1</c:v>
                </c:pt>
              </c:strCache>
            </c:strRef>
          </c:cat>
          <c:val>
            <c:numRef>
              <c:f>Sheet1!$F$2:$F$3</c:f>
              <c:numCache>
                <c:formatCode>General</c:formatCode>
                <c:ptCount val="2"/>
                <c:pt idx="0">
                  <c:v>4</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88BA00"/>
            </a:solidFill>
            <a:ln>
              <a:noFill/>
            </a:ln>
            <a:effectLst/>
          </c:spPr>
          <c:invertIfNegative val="0"/>
          <c:dPt>
            <c:idx val="0"/>
            <c:invertIfNegative val="0"/>
            <c:bubble3D val="0"/>
            <c:spPr>
              <a:solidFill>
                <a:srgbClr val="88BA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rgbClr val="88BA00"/>
              </a:solidFill>
              <a:ln>
                <a:noFill/>
              </a:ln>
              <a:effectLst/>
            </c:spPr>
            <c:extLst>
              <c:ext xmlns:c16="http://schemas.microsoft.com/office/drawing/2014/chart" uri="{C3380CC4-5D6E-409C-BE32-E72D297353CC}">
                <c16:uniqueId val="{00000008-36D0-4747-AEB2-46BA13268819}"/>
              </c:ext>
            </c:extLst>
          </c:dPt>
          <c:cat>
            <c:strRef>
              <c:f>Sheet1!$A$2:$A$3</c:f>
              <c:strCache>
                <c:ptCount val="1"/>
                <c:pt idx="0">
                  <c:v>Category 1</c:v>
                </c:pt>
              </c:strCache>
            </c:strRef>
          </c:cat>
          <c:val>
            <c:numRef>
              <c:f>Sheet1!$G$2:$G$3</c:f>
              <c:numCache>
                <c:formatCode>General</c:formatCode>
                <c:ptCount val="2"/>
                <c:pt idx="0">
                  <c:v>6</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934E15"/>
            </a:solidFill>
            <a:ln>
              <a:noFill/>
            </a:ln>
            <a:effectLst/>
          </c:spPr>
          <c:invertIfNegative val="0"/>
          <c:dPt>
            <c:idx val="0"/>
            <c:invertIfNegative val="0"/>
            <c:bubble3D val="0"/>
            <c:spPr>
              <a:solidFill>
                <a:srgbClr val="934E15"/>
              </a:solidFill>
              <a:ln>
                <a:noFill/>
              </a:ln>
              <a:effectLst/>
            </c:spPr>
            <c:extLst>
              <c:ext xmlns:c16="http://schemas.microsoft.com/office/drawing/2014/chart" uri="{C3380CC4-5D6E-409C-BE32-E72D297353CC}">
                <c16:uniqueId val="{0000000B-36D0-4747-AEB2-46BA13268819}"/>
              </c:ext>
            </c:extLst>
          </c:dPt>
          <c:cat>
            <c:strRef>
              <c:f>Sheet1!$A$2:$A$3</c:f>
              <c:strCache>
                <c:ptCount val="1"/>
                <c:pt idx="0">
                  <c:v>Category 1</c:v>
                </c:pt>
              </c:strCache>
            </c:strRef>
          </c:cat>
          <c:val>
            <c:numRef>
              <c:f>Sheet1!$H$2:$H$3</c:f>
              <c:numCache>
                <c:formatCode>General</c:formatCode>
                <c:ptCount val="2"/>
                <c:pt idx="0">
                  <c:v>4</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PE"/>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PE"/>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3472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240"/>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27B3D3"/>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0088BA"/>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934E15"/>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88BA00"/>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3/6/2025</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Nº›</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3/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Nº›</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9C880130-CE8D-E640-9639-E0473270C6CB}" type="slidenum">
              <a:rPr lang="en-US" smtClean="0"/>
              <a:t>3</a:t>
            </a:fld>
            <a:endParaRPr lang="en-US"/>
          </a:p>
        </p:txBody>
      </p:sp>
    </p:spTree>
    <p:extLst>
      <p:ext uri="{BB962C8B-B14F-4D97-AF65-F5344CB8AC3E}">
        <p14:creationId xmlns:p14="http://schemas.microsoft.com/office/powerpoint/2010/main" val="3545597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9C880130-CE8D-E640-9639-E0473270C6CB}" type="slidenum">
              <a:rPr lang="en-US" smtClean="0"/>
              <a:t>5</a:t>
            </a:fld>
            <a:endParaRPr lang="en-US"/>
          </a:p>
        </p:txBody>
      </p:sp>
    </p:spTree>
    <p:extLst>
      <p:ext uri="{BB962C8B-B14F-4D97-AF65-F5344CB8AC3E}">
        <p14:creationId xmlns:p14="http://schemas.microsoft.com/office/powerpoint/2010/main" val="1516591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5"/>
          </p:nvPr>
        </p:nvSpPr>
        <p:spPr/>
        <p:txBody>
          <a:bodyPr/>
          <a:lstStyle/>
          <a:p>
            <a:fld id="{9C880130-CE8D-E640-9639-E0473270C6CB}" type="slidenum">
              <a:rPr lang="en-US" smtClean="0"/>
              <a:t>7</a:t>
            </a:fld>
            <a:endParaRPr lang="en-US"/>
          </a:p>
        </p:txBody>
      </p:sp>
    </p:spTree>
    <p:extLst>
      <p:ext uri="{BB962C8B-B14F-4D97-AF65-F5344CB8AC3E}">
        <p14:creationId xmlns:p14="http://schemas.microsoft.com/office/powerpoint/2010/main" val="1248642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3080286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lgunos</a:t>
            </a:r>
            <a:r>
              <a:rPr lang="en-US" dirty="0"/>
              <a:t> </a:t>
            </a:r>
            <a:r>
              <a:rPr lang="en-US" dirty="0" err="1"/>
              <a:t>incidentes</a:t>
            </a:r>
            <a:r>
              <a:rPr lang="en-US" dirty="0"/>
              <a:t> </a:t>
            </a:r>
            <a:r>
              <a:rPr lang="en-US" dirty="0" err="1"/>
              <a:t>pueden</a:t>
            </a:r>
            <a:r>
              <a:rPr lang="en-US" dirty="0"/>
              <a:t> </a:t>
            </a:r>
            <a:r>
              <a:rPr lang="en-US" dirty="0" err="1"/>
              <a:t>surgir</a:t>
            </a:r>
            <a:r>
              <a:rPr lang="en-US" dirty="0"/>
              <a:t> o </a:t>
            </a:r>
            <a:r>
              <a:rPr lang="en-US" dirty="0" err="1"/>
              <a:t>dar</a:t>
            </a:r>
            <a:r>
              <a:rPr lang="en-US" dirty="0"/>
              <a:t> </a:t>
            </a:r>
            <a:r>
              <a:rPr lang="en-US" dirty="0" err="1"/>
              <a:t>lugar</a:t>
            </a:r>
            <a:r>
              <a:rPr lang="en-US" dirty="0"/>
              <a:t> a </a:t>
            </a:r>
            <a:r>
              <a:rPr lang="en-US" b="1" dirty="0" err="1"/>
              <a:t>Emergencias</a:t>
            </a:r>
            <a:r>
              <a:rPr lang="en-US" b="1" dirty="0"/>
              <a:t>,</a:t>
            </a:r>
            <a:r>
              <a:rPr lang="en-US" dirty="0"/>
              <a:t> </a:t>
            </a:r>
            <a:r>
              <a:rPr lang="en-US" dirty="0" err="1"/>
              <a:t>por</a:t>
            </a:r>
            <a:r>
              <a:rPr lang="en-US" dirty="0"/>
              <a:t> lo </a:t>
            </a:r>
            <a:r>
              <a:rPr lang="en-US" dirty="0" err="1"/>
              <a:t>cual</a:t>
            </a:r>
            <a:r>
              <a:rPr lang="en-US" dirty="0"/>
              <a:t> es </a:t>
            </a:r>
            <a:r>
              <a:rPr lang="en-US" dirty="0" err="1"/>
              <a:t>necesario</a:t>
            </a:r>
            <a:r>
              <a:rPr lang="en-US" dirty="0"/>
              <a:t> </a:t>
            </a:r>
            <a:r>
              <a:rPr lang="en-US" dirty="0" err="1"/>
              <a:t>conocer</a:t>
            </a:r>
            <a:r>
              <a:rPr lang="en-US" dirty="0"/>
              <a:t> la forma de </a:t>
            </a:r>
            <a:r>
              <a:rPr lang="en-US" dirty="0" err="1"/>
              <a:t>reportarlas</a:t>
            </a:r>
            <a:r>
              <a:rPr lang="en-US" dirty="0"/>
              <a:t>.</a:t>
            </a:r>
          </a:p>
          <a:p>
            <a:r>
              <a:rPr lang="es-PE" sz="1800" b="0" i="0" u="none" strike="noStrike" baseline="0" dirty="0">
                <a:solidFill>
                  <a:srgbClr val="000000"/>
                </a:solidFill>
                <a:latin typeface="Calibri" panose="020F0502020204030204" pitchFamily="34" charset="0"/>
              </a:rPr>
              <a:t>En SMCV se tiene establecido la </a:t>
            </a:r>
            <a:r>
              <a:rPr lang="es-PE" sz="1800" b="0" i="0" u="none" strike="noStrike" baseline="0" dirty="0" err="1">
                <a:solidFill>
                  <a:srgbClr val="000000"/>
                </a:solidFill>
                <a:latin typeface="Calibri" panose="020F0502020204030204" pitchFamily="34" charset="0"/>
              </a:rPr>
              <a:t>reportabilidad</a:t>
            </a:r>
            <a:r>
              <a:rPr lang="es-PE" sz="1800" b="0" i="0" u="none" strike="noStrike" baseline="0" dirty="0">
                <a:solidFill>
                  <a:srgbClr val="000000"/>
                </a:solidFill>
                <a:latin typeface="Calibri" panose="020F0502020204030204" pitchFamily="34" charset="0"/>
              </a:rPr>
              <a:t> de una emergencia y el o los trabajadores testigos o involucrados en ésta, deberán solicitar ayuda inmediatamente alertando al personal más cercano y avisando a la Central de Emergencias utilizando los medios de comunicación que tengan a su alcance. Las dos formas de reportar son: </a:t>
            </a:r>
            <a:r>
              <a:rPr lang="es-PE" sz="1800" b="0" i="0" u="none" strike="noStrike" baseline="0" dirty="0" err="1">
                <a:solidFill>
                  <a:srgbClr val="000000"/>
                </a:solidFill>
                <a:latin typeface="Calibri" panose="020F0502020204030204" pitchFamily="34" charset="0"/>
              </a:rPr>
              <a:t>Via</a:t>
            </a:r>
            <a:r>
              <a:rPr lang="es-PE" sz="1800" b="0" i="0" u="none" strike="noStrike" baseline="0" dirty="0">
                <a:solidFill>
                  <a:srgbClr val="000000"/>
                </a:solidFill>
                <a:latin typeface="Calibri" panose="020F0502020204030204" pitchFamily="34" charset="0"/>
              </a:rPr>
              <a:t> Radial – </a:t>
            </a:r>
            <a:r>
              <a:rPr lang="es-PE" sz="1800" b="0" i="0" u="none" strike="noStrike" baseline="0" dirty="0" err="1">
                <a:solidFill>
                  <a:srgbClr val="000000"/>
                </a:solidFill>
                <a:latin typeface="Calibri" panose="020F0502020204030204" pitchFamily="34" charset="0"/>
              </a:rPr>
              <a:t>Via</a:t>
            </a:r>
            <a:r>
              <a:rPr lang="es-PE" sz="1800" b="0" i="0" u="none" strike="noStrike" baseline="0" dirty="0">
                <a:solidFill>
                  <a:srgbClr val="000000"/>
                </a:solidFill>
                <a:latin typeface="Calibri" panose="020F0502020204030204" pitchFamily="34" charset="0"/>
              </a:rPr>
              <a:t> </a:t>
            </a:r>
            <a:r>
              <a:rPr lang="es-PE" sz="1800" b="0" i="0" u="none" strike="noStrike" baseline="0" dirty="0" err="1">
                <a:solidFill>
                  <a:srgbClr val="000000"/>
                </a:solidFill>
                <a:latin typeface="Calibri" panose="020F0502020204030204" pitchFamily="34" charset="0"/>
              </a:rPr>
              <a:t>Telefonica</a:t>
            </a:r>
            <a:r>
              <a:rPr lang="es-PE" sz="1800" b="0" i="0" u="none" strike="noStrike" baseline="0" dirty="0">
                <a:solidFill>
                  <a:srgbClr val="000000"/>
                </a:solidFill>
                <a:latin typeface="Calibri" panose="020F0502020204030204" pitchFamily="34" charset="0"/>
              </a:rPr>
              <a:t>.</a:t>
            </a:r>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344256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1.jpe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2.emf"/><Relationship Id="rId10" Type="http://schemas.openxmlformats.org/officeDocument/2006/relationships/image" Target="../media/image10.png"/><Relationship Id="rId4" Type="http://schemas.openxmlformats.org/officeDocument/2006/relationships/oleObject" Target="../embeddings/oleObject2.bin"/><Relationship Id="rId9" Type="http://schemas.openxmlformats.org/officeDocument/2006/relationships/image" Target="../media/image9.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oleObject" Target="../embeddings/oleObject15.bin"/><Relationship Id="rId7"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6.png"/><Relationship Id="rId5" Type="http://schemas.openxmlformats.org/officeDocument/2006/relationships/image" Target="../media/image1.jpe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oleObject" Target="../embeddings/oleObject16.bin"/><Relationship Id="rId7"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6.png"/><Relationship Id="rId5" Type="http://schemas.openxmlformats.org/officeDocument/2006/relationships/image" Target="../media/image1.jpe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jpe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jp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3.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8.emf"/><Relationship Id="rId5" Type="http://schemas.openxmlformats.org/officeDocument/2006/relationships/image" Target="../media/image1.jpeg"/><Relationship Id="rId10" Type="http://schemas.openxmlformats.org/officeDocument/2006/relationships/image" Target="../media/image6.png"/><Relationship Id="rId4" Type="http://schemas.openxmlformats.org/officeDocument/2006/relationships/image" Target="../media/image2.emf"/><Relationship Id="rId9" Type="http://schemas.openxmlformats.org/officeDocument/2006/relationships/image" Target="../media/image14.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1.jpeg"/><Relationship Id="rId7"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5.jpeg"/><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7"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1.jpeg"/><Relationship Id="rId7"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jp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1.jpeg"/><Relationship Id="rId7"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jp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8.bin"/><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6.png"/><Relationship Id="rId4" Type="http://schemas.openxmlformats.org/officeDocument/2006/relationships/image" Target="../media/image2.emf"/><Relationship Id="rId9" Type="http://schemas.openxmlformats.org/officeDocument/2006/relationships/image" Target="../media/image5.jp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9.bin"/><Relationship Id="rId7"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16.png"/><Relationship Id="rId4" Type="http://schemas.openxmlformats.org/officeDocument/2006/relationships/image" Target="../media/image2.emf"/><Relationship Id="rId9" Type="http://schemas.openxmlformats.org/officeDocument/2006/relationships/image" Target="../media/image5.jpg"/></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image" Target="../media/image16.png"/><Relationship Id="rId7"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3.png"/><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Cu Mark">
    <p:bg>
      <p:bgPr>
        <a:solidFill>
          <a:schemeClr val="bg1"/>
        </a:solidFill>
        <a:effectLst/>
      </p:bgPr>
    </p:bg>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A0D227D0-2279-EB37-DA1E-2ABBC9ECF9C4}"/>
              </a:ext>
            </a:extLst>
          </p:cNvPr>
          <p:cNvSpPr/>
          <p:nvPr userDrawn="1"/>
        </p:nvSpPr>
        <p:spPr>
          <a:xfrm>
            <a:off x="0" y="3176"/>
            <a:ext cx="12188824" cy="663892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35" descr="A close-up of a metal surface&#10;&#10;Description automatically generated">
            <a:extLst>
              <a:ext uri="{FF2B5EF4-FFF2-40B4-BE49-F238E27FC236}">
                <a16:creationId xmlns:a16="http://schemas.microsoft.com/office/drawing/2014/main" id="{602AEA04-60B4-B98B-B6AF-0281A2BA37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1288" r="20634" b="22900"/>
          <a:stretch>
            <a:fillRect/>
          </a:stretch>
        </p:blipFill>
        <p:spPr bwMode="auto">
          <a:xfrm>
            <a:off x="3176" y="0"/>
            <a:ext cx="12192000"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1" name="Picture 7" descr="A white text on a black background&#10;&#10;Description automatically generated">
            <a:extLst>
              <a:ext uri="{FF2B5EF4-FFF2-40B4-BE49-F238E27FC236}">
                <a16:creationId xmlns:a16="http://schemas.microsoft.com/office/drawing/2014/main" id="{93C07996-6E4E-B87F-9D2C-B0090291EB2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96863" y="215900"/>
            <a:ext cx="5013325" cy="199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ED05DFF-6FEF-97F9-D107-3FBAB37590C2}"/>
              </a:ext>
            </a:extLst>
          </p:cNvPr>
          <p:cNvSpPr/>
          <p:nvPr userDrawn="1"/>
        </p:nvSpPr>
        <p:spPr>
          <a:xfrm>
            <a:off x="9210067" y="5746749"/>
            <a:ext cx="2543175" cy="895350"/>
          </a:xfrm>
          <a:prstGeom prst="rect">
            <a:avLst/>
          </a:prstGeom>
          <a:solidFill>
            <a:schemeClr val="bg1">
              <a:alpha val="8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a:p>
        </p:txBody>
      </p:sp>
      <p:pic>
        <p:nvPicPr>
          <p:cNvPr id="7" name="Picture 6" descr="A black and orange logo&#10;&#10;Description automatically generated">
            <a:extLst>
              <a:ext uri="{FF2B5EF4-FFF2-40B4-BE49-F238E27FC236}">
                <a16:creationId xmlns:a16="http://schemas.microsoft.com/office/drawing/2014/main" id="{B93B7BED-ECDB-FF0F-E352-BFD9F84F7D4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319604" y="5800724"/>
            <a:ext cx="2433638"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1C7CB639-4406-F645-A1FE-7638E0CAFC19}"/>
              </a:ext>
            </a:extLst>
          </p:cNvPr>
          <p:cNvPicPr>
            <a:picLocks noChangeAspect="1"/>
          </p:cNvPicPr>
          <p:nvPr userDrawn="1"/>
        </p:nvPicPr>
        <p:blipFill>
          <a:blip r:embed="rId8"/>
          <a:stretch>
            <a:fillRect/>
          </a:stretch>
        </p:blipFill>
        <p:spPr>
          <a:xfrm>
            <a:off x="438759" y="5593843"/>
            <a:ext cx="1608312" cy="895349"/>
          </a:xfrm>
          <a:prstGeom prst="rect">
            <a:avLst/>
          </a:prstGeom>
        </p:spPr>
      </p:pic>
      <p:pic>
        <p:nvPicPr>
          <p:cNvPr id="9" name="Picture 8">
            <a:extLst>
              <a:ext uri="{FF2B5EF4-FFF2-40B4-BE49-F238E27FC236}">
                <a16:creationId xmlns:a16="http://schemas.microsoft.com/office/drawing/2014/main" id="{B434CAAA-8185-31F4-D61F-95A16AEEE2FB}"/>
              </a:ext>
            </a:extLst>
          </p:cNvPr>
          <p:cNvPicPr>
            <a:picLocks noChangeAspect="1" noChangeArrowheads="1"/>
          </p:cNvPicPr>
          <p:nvPr userDrawn="1"/>
        </p:nvPicPr>
        <p:blipFill>
          <a:blip r:embed="rId9"/>
          <a:srcRect/>
          <a:stretch>
            <a:fillRect/>
          </a:stretch>
        </p:blipFill>
        <p:spPr bwMode="auto">
          <a:xfrm>
            <a:off x="2670447" y="6013246"/>
            <a:ext cx="479425" cy="481012"/>
          </a:xfrm>
          <a:prstGeom prst="rect">
            <a:avLst/>
          </a:prstGeom>
          <a:noFill/>
          <a:ln>
            <a:noFill/>
          </a:ln>
          <a:effectLst>
            <a:outerShdw blurRad="50800" dist="12700" dir="2700000" algn="tl" rotWithShape="0">
              <a:prstClr val="black">
                <a:alpha val="40000"/>
              </a:prstClr>
            </a:outerShdw>
          </a:effectLst>
        </p:spPr>
      </p:pic>
      <p:pic>
        <p:nvPicPr>
          <p:cNvPr id="10" name="Graphic 29">
            <a:extLst>
              <a:ext uri="{FF2B5EF4-FFF2-40B4-BE49-F238E27FC236}">
                <a16:creationId xmlns:a16="http://schemas.microsoft.com/office/drawing/2014/main" id="{DECD6D3B-6B2D-C058-14C5-5146D9917F04}"/>
              </a:ext>
            </a:extLst>
          </p:cNvPr>
          <p:cNvPicPr>
            <a:picLocks noChangeAspect="1" noChangeArrowheads="1"/>
          </p:cNvPicPr>
          <p:nvPr userDrawn="1"/>
        </p:nvPicPr>
        <p:blipFill>
          <a:blip r:embed="rId10"/>
          <a:srcRect/>
          <a:stretch>
            <a:fillRect/>
          </a:stretch>
        </p:blipFill>
        <p:spPr bwMode="auto">
          <a:xfrm>
            <a:off x="4801425" y="6062661"/>
            <a:ext cx="1312862" cy="430213"/>
          </a:xfrm>
          <a:prstGeom prst="rect">
            <a:avLst/>
          </a:prstGeom>
          <a:noFill/>
          <a:ln>
            <a:noFill/>
          </a:ln>
          <a:effectLst>
            <a:outerShdw blurRad="50800" dist="12700" dir="2700000" algn="tl" rotWithShape="0">
              <a:prstClr val="black">
                <a:alpha val="40000"/>
              </a:prstClr>
            </a:outerShdw>
          </a:effectLst>
        </p:spPr>
      </p:pic>
      <p:sp>
        <p:nvSpPr>
          <p:cNvPr id="11" name="TextBox 19">
            <a:extLst>
              <a:ext uri="{FF2B5EF4-FFF2-40B4-BE49-F238E27FC236}">
                <a16:creationId xmlns:a16="http://schemas.microsoft.com/office/drawing/2014/main" id="{E3BE5A43-0AC0-7D96-71B4-9C6B463D0A9B}"/>
              </a:ext>
            </a:extLst>
          </p:cNvPr>
          <p:cNvSpPr txBox="1">
            <a:spLocks noChangeArrowheads="1"/>
          </p:cNvSpPr>
          <p:nvPr userDrawn="1"/>
        </p:nvSpPr>
        <p:spPr bwMode="auto">
          <a:xfrm>
            <a:off x="6441022" y="6286802"/>
            <a:ext cx="774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00000"/>
              </a:lnSpc>
              <a:spcBef>
                <a:spcPct val="0"/>
              </a:spcBef>
              <a:buFontTx/>
              <a:buNone/>
            </a:pPr>
            <a:r>
              <a:rPr lang="en-US" altLang="en-US" sz="1200" dirty="0">
                <a:solidFill>
                  <a:schemeClr val="bg1"/>
                </a:solidFill>
              </a:rPr>
              <a:t>fcx.com</a:t>
            </a:r>
          </a:p>
        </p:txBody>
      </p:sp>
      <p:grpSp>
        <p:nvGrpSpPr>
          <p:cNvPr id="27" name="Group 26">
            <a:extLst>
              <a:ext uri="{FF2B5EF4-FFF2-40B4-BE49-F238E27FC236}">
                <a16:creationId xmlns:a16="http://schemas.microsoft.com/office/drawing/2014/main" id="{E301EB0F-1A8B-9EDE-58B1-66E070D099C6}"/>
              </a:ext>
            </a:extLst>
          </p:cNvPr>
          <p:cNvGrpSpPr/>
          <p:nvPr userDrawn="1"/>
        </p:nvGrpSpPr>
        <p:grpSpPr>
          <a:xfrm>
            <a:off x="3698560" y="5917312"/>
            <a:ext cx="646265" cy="611360"/>
            <a:chOff x="3739656" y="5917312"/>
            <a:chExt cx="646265" cy="611360"/>
          </a:xfrm>
        </p:grpSpPr>
        <p:sp>
          <p:nvSpPr>
            <p:cNvPr id="21" name="Rectangle 20">
              <a:extLst>
                <a:ext uri="{FF2B5EF4-FFF2-40B4-BE49-F238E27FC236}">
                  <a16:creationId xmlns:a16="http://schemas.microsoft.com/office/drawing/2014/main" id="{DD68A016-345E-2BD0-36BF-AE500A656797}"/>
                </a:ext>
              </a:extLst>
            </p:cNvPr>
            <p:cNvSpPr/>
            <p:nvPr userDrawn="1"/>
          </p:nvSpPr>
          <p:spPr>
            <a:xfrm>
              <a:off x="3800083" y="5954032"/>
              <a:ext cx="502920" cy="532875"/>
            </a:xfrm>
            <a:prstGeom prst="rect">
              <a:avLst/>
            </a:prstGeom>
            <a:solidFill>
              <a:srgbClr val="715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6" name="Picture 25" descr="A black and white logo&#10;&#10;Description automatically generated">
              <a:extLst>
                <a:ext uri="{FF2B5EF4-FFF2-40B4-BE49-F238E27FC236}">
                  <a16:creationId xmlns:a16="http://schemas.microsoft.com/office/drawing/2014/main" id="{0F414CA1-7464-7472-E9C9-03D15A3610E6}"/>
                </a:ext>
              </a:extLst>
            </p:cNvPr>
            <p:cNvPicPr>
              <a:picLocks noChangeAspect="1"/>
            </p:cNvPicPr>
            <p:nvPr userDrawn="1"/>
          </p:nvPicPr>
          <p:blipFill>
            <a:blip r:embed="rId11"/>
            <a:stretch>
              <a:fillRect/>
            </a:stretch>
          </p:blipFill>
          <p:spPr>
            <a:xfrm>
              <a:off x="3739656" y="5917312"/>
              <a:ext cx="646265" cy="611360"/>
            </a:xfrm>
            <a:prstGeom prst="rect">
              <a:avLst/>
            </a:prstGeom>
          </p:spPr>
        </p:pic>
      </p:grpSp>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77709"/>
            <a:ext cx="12188824" cy="1515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23589" y="287685"/>
            <a:ext cx="8707956" cy="607555"/>
          </a:xfrm>
          <a:prstGeom prst="rect">
            <a:avLst/>
          </a:prstGeom>
        </p:spPr>
        <p:txBody>
          <a:bodyPr vert="horz">
            <a:noAutofit/>
          </a:bodyPr>
          <a:lstStyle>
            <a:lvl1pPr>
              <a:lnSpc>
                <a:spcPct val="85000"/>
              </a:lnSpc>
              <a:defRPr sz="3200">
                <a:solidFill>
                  <a:schemeClr val="bg1"/>
                </a:solidFill>
              </a:defRPr>
            </a:lvl1pPr>
          </a:lstStyle>
          <a:p>
            <a:r>
              <a:rPr lang="en-US" dirty="0"/>
              <a:t>Click to edit Master title style Arial Bold</a:t>
            </a: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121728"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076559" y="4964036"/>
            <a:ext cx="387623" cy="1206610"/>
          </a:xfrm>
          <a:prstGeom prst="rect">
            <a:avLst/>
          </a:prstGeom>
          <a:gradFill>
            <a:gsLst>
              <a:gs pos="71000">
                <a:srgbClr val="A06146"/>
              </a:gs>
              <a:gs pos="46000">
                <a:srgbClr val="DA9E7F"/>
              </a:gs>
              <a:gs pos="25000">
                <a:srgbClr val="F9C397"/>
              </a:gs>
              <a:gs pos="0">
                <a:srgbClr val="F2D3AE"/>
              </a:gs>
              <a:gs pos="100000">
                <a:srgbClr val="843C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185337" y="4628345"/>
            <a:ext cx="31325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589813" y="4924026"/>
            <a:ext cx="357080" cy="1231802"/>
          </a:xfrm>
          <a:prstGeom prst="rect">
            <a:avLst/>
          </a:prstGeom>
          <a:gradFill>
            <a:gsLst>
              <a:gs pos="52000">
                <a:srgbClr val="FED46A"/>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072120" y="4964036"/>
            <a:ext cx="409910" cy="1206609"/>
          </a:xfrm>
          <a:prstGeom prst="rect">
            <a:avLst/>
          </a:prstGeom>
          <a:gradFill>
            <a:gsLst>
              <a:gs pos="40000">
                <a:srgbClr val="0088BA"/>
              </a:gs>
              <a:gs pos="0">
                <a:srgbClr val="B5E4F7"/>
              </a:gs>
              <a:gs pos="100000">
                <a:srgbClr val="084A6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347271" y="1310797"/>
            <a:ext cx="7812626" cy="1200329"/>
          </a:xfrm>
          <a:prstGeom prst="rect">
            <a:avLst/>
          </a:prstGeom>
          <a:noFill/>
        </p:spPr>
        <p:txBody>
          <a:bodyPr wrap="square" rtlCol="0">
            <a:noAutofit/>
          </a:bodyPr>
          <a:lstStyle/>
          <a:p>
            <a:pPr marL="342900" indent="-342900">
              <a:buFont typeface="+mj-lt"/>
              <a:buAutoNum type="arabicPeriod"/>
            </a:pPr>
            <a:r>
              <a:rPr lang="en-US" sz="1600" b="1" u="sng" dirty="0">
                <a:latin typeface="Arial" panose="020B0604020202020204" pitchFamily="34" charset="0"/>
                <a:cs typeface="Arial" panose="020B0604020202020204" pitchFamily="34" charset="0"/>
              </a:rPr>
              <a:t>The Value of Copper 2024 </a:t>
            </a:r>
            <a:r>
              <a:rPr lang="en-US" sz="1600" dirty="0">
                <a:latin typeface="Arial" panose="020B0604020202020204" pitchFamily="34" charset="0"/>
                <a:cs typeface="Arial" panose="020B0604020202020204" pitchFamily="34" charset="0"/>
              </a:rPr>
              <a:t>color theme</a:t>
            </a:r>
          </a:p>
          <a:p>
            <a:pPr marL="342900" indent="-342900">
              <a:buFont typeface="+mj-lt"/>
              <a:buAutoNum type="arabicPeriod"/>
            </a:pPr>
            <a:r>
              <a:rPr lang="en-US" sz="1600"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dirty="0">
                <a:latin typeface="Arial" panose="020B0604020202020204" pitchFamily="34" charset="0"/>
                <a:cs typeface="Arial" panose="020B0604020202020204" pitchFamily="34" charset="0"/>
              </a:rPr>
              <a:t>Select Colors</a:t>
            </a:r>
          </a:p>
          <a:p>
            <a:pPr marL="342900" indent="-342900">
              <a:buFont typeface="+mj-lt"/>
              <a:buAutoNum type="arabicPeriod"/>
            </a:pPr>
            <a:r>
              <a:rPr lang="en-US" sz="1600" dirty="0">
                <a:latin typeface="Arial" panose="020B0604020202020204" pitchFamily="34" charset="0"/>
                <a:cs typeface="Arial" panose="020B0604020202020204" pitchFamily="34" charset="0"/>
              </a:rPr>
              <a:t>Under </a:t>
            </a:r>
            <a:r>
              <a:rPr lang="en-US" sz="1600" b="1" u="sng" dirty="0">
                <a:latin typeface="Arial" panose="020B0604020202020204" pitchFamily="34" charset="0"/>
                <a:cs typeface="Arial" panose="020B0604020202020204" pitchFamily="34" charset="0"/>
              </a:rPr>
              <a:t>Custom</a:t>
            </a:r>
            <a:r>
              <a:rPr lang="en-US" sz="1600" dirty="0">
                <a:latin typeface="Arial" panose="020B0604020202020204" pitchFamily="34" charset="0"/>
                <a:cs typeface="Arial" panose="020B0604020202020204" pitchFamily="34" charset="0"/>
              </a:rPr>
              <a:t> select THE VALUE OF COPPER 2024 theme</a:t>
            </a: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433506" y="3198414"/>
            <a:ext cx="275897" cy="245798"/>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962179365"/>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88038930"/>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2443973" y="3198414"/>
            <a:ext cx="275897" cy="245798"/>
          </a:xfrm>
          <a:prstGeom prst="rect">
            <a:avLst/>
          </a:prstGeom>
          <a:solidFill>
            <a:srgbClr val="8D6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197494" y="4078794"/>
            <a:ext cx="726924" cy="227544"/>
          </a:xfrm>
          <a:prstGeom prst="rect">
            <a:avLst/>
          </a:prstGeom>
          <a:noFill/>
        </p:spPr>
        <p:txBody>
          <a:bodyPr wrap="square" rtlCol="0">
            <a:noAutofit/>
          </a:bodyPr>
          <a:lstStyle/>
          <a:p>
            <a:r>
              <a:rPr lang="en-US" sz="1000" dirty="0"/>
              <a:t>#934E1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135420" y="3470719"/>
            <a:ext cx="748559" cy="245798"/>
          </a:xfrm>
          <a:prstGeom prst="rect">
            <a:avLst/>
          </a:prstGeom>
          <a:noFill/>
        </p:spPr>
        <p:txBody>
          <a:bodyPr wrap="square" rtlCol="0">
            <a:noAutofit/>
          </a:bodyPr>
          <a:lstStyle/>
          <a:p>
            <a:r>
              <a:rPr lang="en-US" sz="1000" dirty="0"/>
              <a:t>#0088BA</a:t>
            </a:r>
          </a:p>
        </p:txBody>
      </p:sp>
      <p:grpSp>
        <p:nvGrpSpPr>
          <p:cNvPr id="83" name="Group 82">
            <a:extLst>
              <a:ext uri="{FF2B5EF4-FFF2-40B4-BE49-F238E27FC236}">
                <a16:creationId xmlns:a16="http://schemas.microsoft.com/office/drawing/2014/main" id="{F8B450E5-93A1-03E4-06E5-F726212F7A85}"/>
              </a:ext>
            </a:extLst>
          </p:cNvPr>
          <p:cNvGrpSpPr/>
          <p:nvPr userDrawn="1"/>
        </p:nvGrpSpPr>
        <p:grpSpPr>
          <a:xfrm>
            <a:off x="10531751" y="1345381"/>
            <a:ext cx="961254" cy="500575"/>
            <a:chOff x="7525504" y="1297924"/>
            <a:chExt cx="2552344" cy="1329139"/>
          </a:xfrm>
        </p:grpSpPr>
        <p:sp>
          <p:nvSpPr>
            <p:cNvPr id="6" name="Rectangle 5">
              <a:extLst>
                <a:ext uri="{FF2B5EF4-FFF2-40B4-BE49-F238E27FC236}">
                  <a16:creationId xmlns:a16="http://schemas.microsoft.com/office/drawing/2014/main" id="{950C5B7E-66CD-22B1-A7CC-620E726E1657}"/>
                </a:ext>
              </a:extLst>
            </p:cNvPr>
            <p:cNvSpPr/>
            <p:nvPr userDrawn="1"/>
          </p:nvSpPr>
          <p:spPr>
            <a:xfrm rot="16200000">
              <a:off x="7493951" y="2027571"/>
              <a:ext cx="631045" cy="567940"/>
            </a:xfrm>
            <a:prstGeom prst="rect">
              <a:avLst/>
            </a:prstGeom>
            <a:solidFill>
              <a:srgbClr val="8B6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59C8346-DDF9-C543-1322-050C61E69177}"/>
                </a:ext>
              </a:extLst>
            </p:cNvPr>
            <p:cNvSpPr/>
            <p:nvPr userDrawn="1"/>
          </p:nvSpPr>
          <p:spPr>
            <a:xfrm rot="16200000">
              <a:off x="8114857" y="2015738"/>
              <a:ext cx="631045" cy="567940"/>
            </a:xfrm>
            <a:prstGeom prst="rect">
              <a:avLst/>
            </a:prstGeom>
            <a:solidFill>
              <a:srgbClr val="AF7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D07BC7A-00DB-D2E6-EC0C-A71A437B4EFD}"/>
                </a:ext>
              </a:extLst>
            </p:cNvPr>
            <p:cNvSpPr/>
            <p:nvPr userDrawn="1"/>
          </p:nvSpPr>
          <p:spPr>
            <a:xfrm rot="16200000">
              <a:off x="8796606" y="2027571"/>
              <a:ext cx="631045" cy="567940"/>
            </a:xfrm>
            <a:prstGeom prst="rect">
              <a:avLst/>
            </a:prstGeom>
            <a:solidFill>
              <a:srgbClr val="B74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25CF867-39F1-0307-26AF-D293CF7B76F4}"/>
                </a:ext>
              </a:extLst>
            </p:cNvPr>
            <p:cNvSpPr/>
            <p:nvPr userDrawn="1"/>
          </p:nvSpPr>
          <p:spPr>
            <a:xfrm rot="16200000">
              <a:off x="9478355" y="2015738"/>
              <a:ext cx="631045" cy="567940"/>
            </a:xfrm>
            <a:prstGeom prst="rect">
              <a:avLst/>
            </a:prstGeom>
            <a:solidFill>
              <a:srgbClr val="C87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C15AA0B-E523-2F79-637A-3E7E601194AF}"/>
                </a:ext>
              </a:extLst>
            </p:cNvPr>
            <p:cNvSpPr/>
            <p:nvPr userDrawn="1"/>
          </p:nvSpPr>
          <p:spPr>
            <a:xfrm rot="16200000">
              <a:off x="8143027" y="1329477"/>
              <a:ext cx="631045" cy="567940"/>
            </a:xfrm>
            <a:prstGeom prst="rect">
              <a:avLst/>
            </a:prstGeom>
            <a:solidFill>
              <a:srgbClr val="984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5A98FD3-C5C7-3A8E-5021-2EFA126715E4}"/>
                </a:ext>
              </a:extLst>
            </p:cNvPr>
            <p:cNvSpPr/>
            <p:nvPr userDrawn="1"/>
          </p:nvSpPr>
          <p:spPr>
            <a:xfrm rot="16200000">
              <a:off x="8825909" y="1329477"/>
              <a:ext cx="631045" cy="567940"/>
            </a:xfrm>
            <a:prstGeom prst="rect">
              <a:avLst/>
            </a:prstGeom>
            <a:solidFill>
              <a:srgbClr val="D8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9BD5750-99EC-A516-E042-61A5D5E987A2}"/>
                </a:ext>
              </a:extLst>
            </p:cNvPr>
            <p:cNvSpPr/>
            <p:nvPr userDrawn="1"/>
          </p:nvSpPr>
          <p:spPr>
            <a:xfrm rot="16200000">
              <a:off x="7493951" y="1329477"/>
              <a:ext cx="631045" cy="567940"/>
            </a:xfrm>
            <a:prstGeom prst="rect">
              <a:avLst/>
            </a:prstGeom>
            <a:solidFill>
              <a:srgbClr val="F2D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1AE890C-E3C6-ED59-15A8-A144083947E6}"/>
                </a:ext>
              </a:extLst>
            </p:cNvPr>
            <p:cNvSpPr/>
            <p:nvPr userDrawn="1"/>
          </p:nvSpPr>
          <p:spPr>
            <a:xfrm rot="16200000">
              <a:off x="9461462" y="1329477"/>
              <a:ext cx="631045" cy="567940"/>
            </a:xfrm>
            <a:prstGeom prst="rect">
              <a:avLst/>
            </a:prstGeom>
            <a:solidFill>
              <a:srgbClr val="F9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Rectangle 29">
            <a:extLst>
              <a:ext uri="{FF2B5EF4-FFF2-40B4-BE49-F238E27FC236}">
                <a16:creationId xmlns:a16="http://schemas.microsoft.com/office/drawing/2014/main" id="{7D3ED3C9-2E9A-CA4B-BFE4-FC3CBB8F8E02}"/>
              </a:ext>
            </a:extLst>
          </p:cNvPr>
          <p:cNvSpPr/>
          <p:nvPr userDrawn="1"/>
        </p:nvSpPr>
        <p:spPr>
          <a:xfrm>
            <a:off x="1084823" y="3198414"/>
            <a:ext cx="275897" cy="245798"/>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10E4A417-EDED-51C6-51E8-088462781285}"/>
              </a:ext>
            </a:extLst>
          </p:cNvPr>
          <p:cNvSpPr txBox="1"/>
          <p:nvPr userDrawn="1"/>
        </p:nvSpPr>
        <p:spPr>
          <a:xfrm>
            <a:off x="822501" y="3470719"/>
            <a:ext cx="1001204" cy="246221"/>
          </a:xfrm>
          <a:prstGeom prst="rect">
            <a:avLst/>
          </a:prstGeom>
          <a:noFill/>
        </p:spPr>
        <p:txBody>
          <a:bodyPr wrap="square" rtlCol="0">
            <a:noAutofit/>
          </a:bodyPr>
          <a:lstStyle/>
          <a:p>
            <a:r>
              <a:rPr lang="en-US" sz="1000" dirty="0"/>
              <a:t>#27B3D3</a:t>
            </a:r>
          </a:p>
        </p:txBody>
      </p:sp>
      <p:sp>
        <p:nvSpPr>
          <p:cNvPr id="60" name="Rectangle 59">
            <a:extLst>
              <a:ext uri="{FF2B5EF4-FFF2-40B4-BE49-F238E27FC236}">
                <a16:creationId xmlns:a16="http://schemas.microsoft.com/office/drawing/2014/main" id="{C8B8FE62-54EA-B1A6-4D5D-1B6F83777EBA}"/>
              </a:ext>
            </a:extLst>
          </p:cNvPr>
          <p:cNvSpPr/>
          <p:nvPr userDrawn="1"/>
        </p:nvSpPr>
        <p:spPr>
          <a:xfrm rot="16200000">
            <a:off x="1721749" y="3792360"/>
            <a:ext cx="245797" cy="275899"/>
          </a:xfrm>
          <a:prstGeom prst="rect">
            <a:avLst/>
          </a:prstGeom>
          <a:solidFill>
            <a:srgbClr val="FEC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5B339C41-EB9D-2053-2BE7-B4DB307AC722}"/>
              </a:ext>
            </a:extLst>
          </p:cNvPr>
          <p:cNvSpPr txBox="1"/>
          <p:nvPr userDrawn="1"/>
        </p:nvSpPr>
        <p:spPr>
          <a:xfrm>
            <a:off x="1481995" y="4078794"/>
            <a:ext cx="1001204" cy="246221"/>
          </a:xfrm>
          <a:prstGeom prst="rect">
            <a:avLst/>
          </a:prstGeom>
          <a:noFill/>
        </p:spPr>
        <p:txBody>
          <a:bodyPr wrap="square" rtlCol="0">
            <a:noAutofit/>
          </a:bodyPr>
          <a:lstStyle/>
          <a:p>
            <a:r>
              <a:rPr lang="en-US" sz="1000" dirty="0"/>
              <a:t>#FEC240</a:t>
            </a:r>
          </a:p>
          <a:p>
            <a:endParaRPr lang="en-US" sz="1000" dirty="0"/>
          </a:p>
        </p:txBody>
      </p:sp>
      <p:sp>
        <p:nvSpPr>
          <p:cNvPr id="69" name="Rectangle 68">
            <a:extLst>
              <a:ext uri="{FF2B5EF4-FFF2-40B4-BE49-F238E27FC236}">
                <a16:creationId xmlns:a16="http://schemas.microsoft.com/office/drawing/2014/main" id="{899ADD03-E78B-C137-819B-6E50935B79A6}"/>
              </a:ext>
            </a:extLst>
          </p:cNvPr>
          <p:cNvSpPr/>
          <p:nvPr userDrawn="1"/>
        </p:nvSpPr>
        <p:spPr>
          <a:xfrm>
            <a:off x="2553805" y="4975761"/>
            <a:ext cx="426051" cy="1206609"/>
          </a:xfrm>
          <a:prstGeom prst="rect">
            <a:avLst/>
          </a:prstGeom>
          <a:gradFill>
            <a:gsLst>
              <a:gs pos="98473">
                <a:srgbClr val="638600"/>
              </a:gs>
              <a:gs pos="4580">
                <a:srgbClr val="C0FF0D"/>
              </a:gs>
              <a:gs pos="40000">
                <a:srgbClr val="B0EE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781FB068-CDE8-9913-96C4-171A6C8D6B6F}"/>
              </a:ext>
            </a:extLst>
          </p:cNvPr>
          <p:cNvSpPr/>
          <p:nvPr userDrawn="1"/>
        </p:nvSpPr>
        <p:spPr>
          <a:xfrm>
            <a:off x="1574097" y="4975762"/>
            <a:ext cx="426051" cy="1206609"/>
          </a:xfrm>
          <a:prstGeom prst="rect">
            <a:avLst/>
          </a:prstGeom>
          <a:gradFill>
            <a:gsLst>
              <a:gs pos="1527">
                <a:srgbClr val="F9C397"/>
              </a:gs>
              <a:gs pos="49000">
                <a:srgbClr val="FB7645"/>
              </a:gs>
              <a:gs pos="98473">
                <a:srgbClr val="B7452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605F3B9D-DA54-0028-40A8-328FF1F9A6DA}"/>
              </a:ext>
            </a:extLst>
          </p:cNvPr>
          <p:cNvSpPr txBox="1"/>
          <p:nvPr userDrawn="1"/>
        </p:nvSpPr>
        <p:spPr>
          <a:xfrm>
            <a:off x="868779" y="4078794"/>
            <a:ext cx="726924" cy="246221"/>
          </a:xfrm>
          <a:prstGeom prst="rect">
            <a:avLst/>
          </a:prstGeom>
          <a:noFill/>
        </p:spPr>
        <p:txBody>
          <a:bodyPr wrap="square" rtlCol="0">
            <a:noAutofit/>
          </a:bodyPr>
          <a:lstStyle/>
          <a:p>
            <a:r>
              <a:rPr lang="en-US" sz="1000" dirty="0"/>
              <a:t>#D34727</a:t>
            </a:r>
          </a:p>
        </p:txBody>
      </p:sp>
      <p:sp>
        <p:nvSpPr>
          <p:cNvPr id="76" name="Rectangle 75">
            <a:extLst>
              <a:ext uri="{FF2B5EF4-FFF2-40B4-BE49-F238E27FC236}">
                <a16:creationId xmlns:a16="http://schemas.microsoft.com/office/drawing/2014/main" id="{E7E8AAD6-9B30-759D-367C-277FFF406E8C}"/>
              </a:ext>
            </a:extLst>
          </p:cNvPr>
          <p:cNvSpPr/>
          <p:nvPr userDrawn="1"/>
        </p:nvSpPr>
        <p:spPr>
          <a:xfrm rot="16200000">
            <a:off x="1076757" y="3792360"/>
            <a:ext cx="245797" cy="275899"/>
          </a:xfrm>
          <a:prstGeom prst="rect">
            <a:avLst/>
          </a:prstGeom>
          <a:solidFill>
            <a:srgbClr val="D34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92C905D1-1976-C7A7-590F-7D464B63174C}"/>
              </a:ext>
            </a:extLst>
          </p:cNvPr>
          <p:cNvSpPr/>
          <p:nvPr userDrawn="1"/>
        </p:nvSpPr>
        <p:spPr>
          <a:xfrm>
            <a:off x="1692082" y="3198414"/>
            <a:ext cx="275897" cy="245798"/>
          </a:xfrm>
          <a:prstGeom prst="rect">
            <a:avLst/>
          </a:prstGeom>
          <a:solidFill>
            <a:srgbClr val="88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2F6E65E0-AE2A-AAF7-929F-878FDB36F939}"/>
              </a:ext>
            </a:extLst>
          </p:cNvPr>
          <p:cNvSpPr txBox="1"/>
          <p:nvPr userDrawn="1"/>
        </p:nvSpPr>
        <p:spPr>
          <a:xfrm>
            <a:off x="1558344" y="3470719"/>
            <a:ext cx="1001204" cy="246221"/>
          </a:xfrm>
          <a:prstGeom prst="rect">
            <a:avLst/>
          </a:prstGeom>
          <a:noFill/>
        </p:spPr>
        <p:txBody>
          <a:bodyPr wrap="square" rtlCol="0">
            <a:noAutofit/>
          </a:bodyPr>
          <a:lstStyle/>
          <a:p>
            <a:r>
              <a:rPr lang="en-US" sz="1000" dirty="0"/>
              <a:t>#88BA00</a:t>
            </a:r>
          </a:p>
        </p:txBody>
      </p:sp>
      <p:sp>
        <p:nvSpPr>
          <p:cNvPr id="79" name="Rectangle 78">
            <a:extLst>
              <a:ext uri="{FF2B5EF4-FFF2-40B4-BE49-F238E27FC236}">
                <a16:creationId xmlns:a16="http://schemas.microsoft.com/office/drawing/2014/main" id="{AE3C5C3A-7B79-FE7E-4C95-03B146EF63CE}"/>
              </a:ext>
            </a:extLst>
          </p:cNvPr>
          <p:cNvSpPr/>
          <p:nvPr userDrawn="1"/>
        </p:nvSpPr>
        <p:spPr>
          <a:xfrm rot="16200000">
            <a:off x="426122" y="3792360"/>
            <a:ext cx="245797" cy="275899"/>
          </a:xfrm>
          <a:prstGeom prst="rect">
            <a:avLst/>
          </a:prstGeom>
          <a:solidFill>
            <a:srgbClr val="934E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D043E0E4-22C5-BDBE-B662-D2E539438B8A}"/>
              </a:ext>
            </a:extLst>
          </p:cNvPr>
          <p:cNvSpPr/>
          <p:nvPr userDrawn="1"/>
        </p:nvSpPr>
        <p:spPr>
          <a:xfrm>
            <a:off x="2443973" y="3807411"/>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09D7D4CE-9410-F50D-14BC-FD35C3AA9E30}"/>
              </a:ext>
            </a:extLst>
          </p:cNvPr>
          <p:cNvSpPr txBox="1"/>
          <p:nvPr userDrawn="1"/>
        </p:nvSpPr>
        <p:spPr>
          <a:xfrm>
            <a:off x="2316666" y="4078794"/>
            <a:ext cx="1001204" cy="246221"/>
          </a:xfrm>
          <a:prstGeom prst="rect">
            <a:avLst/>
          </a:prstGeom>
          <a:noFill/>
        </p:spPr>
        <p:txBody>
          <a:bodyPr wrap="square" rtlCol="0">
            <a:noAutofit/>
          </a:bodyPr>
          <a:lstStyle/>
          <a:p>
            <a:r>
              <a:rPr lang="en-US" sz="1000" dirty="0"/>
              <a:t>#E18332</a:t>
            </a:r>
          </a:p>
        </p:txBody>
      </p:sp>
      <p:sp>
        <p:nvSpPr>
          <p:cNvPr id="82" name="TextBox 81">
            <a:extLst>
              <a:ext uri="{FF2B5EF4-FFF2-40B4-BE49-F238E27FC236}">
                <a16:creationId xmlns:a16="http://schemas.microsoft.com/office/drawing/2014/main" id="{B14CD594-3F2E-8712-9AA6-FB70B7D94317}"/>
              </a:ext>
            </a:extLst>
          </p:cNvPr>
          <p:cNvSpPr txBox="1"/>
          <p:nvPr userDrawn="1"/>
        </p:nvSpPr>
        <p:spPr>
          <a:xfrm>
            <a:off x="2294187" y="3470719"/>
            <a:ext cx="1001204" cy="246221"/>
          </a:xfrm>
          <a:prstGeom prst="rect">
            <a:avLst/>
          </a:prstGeom>
          <a:noFill/>
        </p:spPr>
        <p:txBody>
          <a:bodyPr wrap="square" rtlCol="0">
            <a:noAutofit/>
          </a:bodyPr>
          <a:lstStyle/>
          <a:p>
            <a:r>
              <a:rPr lang="en-US" sz="1000" dirty="0"/>
              <a:t>#8D6E59</a:t>
            </a:r>
          </a:p>
        </p:txBody>
      </p:sp>
      <p:pic>
        <p:nvPicPr>
          <p:cNvPr id="86" name="Picture 85">
            <a:extLst>
              <a:ext uri="{FF2B5EF4-FFF2-40B4-BE49-F238E27FC236}">
                <a16:creationId xmlns:a16="http://schemas.microsoft.com/office/drawing/2014/main" id="{B1E10008-592A-2374-E6DC-72C295AFE127}"/>
              </a:ext>
            </a:extLst>
          </p:cNvPr>
          <p:cNvPicPr>
            <a:picLocks noChangeAspect="1"/>
          </p:cNvPicPr>
          <p:nvPr userDrawn="1"/>
        </p:nvPicPr>
        <p:blipFill rotWithShape="1">
          <a:blip r:embed="rId7"/>
          <a:srcRect r="19209" b="6673"/>
          <a:stretch/>
        </p:blipFill>
        <p:spPr>
          <a:xfrm>
            <a:off x="6549001" y="1268585"/>
            <a:ext cx="5586842" cy="1333417"/>
          </a:xfrm>
          <a:prstGeom prst="rect">
            <a:avLst/>
          </a:prstGeom>
        </p:spPr>
      </p:pic>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le and 2 bullet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23589" y="270861"/>
            <a:ext cx="8865017" cy="675389"/>
          </a:xfrm>
          <a:prstGeom prst="rect">
            <a:avLst/>
          </a:prstGeom>
        </p:spPr>
        <p:txBody>
          <a:bodyPr vert="horz">
            <a:noAutofit/>
          </a:bodyPr>
          <a:lstStyle>
            <a:lvl1pPr>
              <a:lnSpc>
                <a:spcPct val="85000"/>
              </a:lnSpc>
              <a:defRPr sz="32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23589" y="2578708"/>
            <a:ext cx="4797348" cy="340987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2">
            <a:extLst>
              <a:ext uri="{FF2B5EF4-FFF2-40B4-BE49-F238E27FC236}">
                <a16:creationId xmlns:a16="http://schemas.microsoft.com/office/drawing/2014/main" id="{C5933937-D526-39D3-2E4F-25D59D0B6F6C}"/>
              </a:ext>
            </a:extLst>
          </p:cNvPr>
          <p:cNvSpPr>
            <a:spLocks noGrp="1"/>
          </p:cNvSpPr>
          <p:nvPr>
            <p:ph idx="10"/>
          </p:nvPr>
        </p:nvSpPr>
        <p:spPr>
          <a:xfrm>
            <a:off x="6578637" y="2569029"/>
            <a:ext cx="5159928" cy="340987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4">
            <a:extLst>
              <a:ext uri="{FF2B5EF4-FFF2-40B4-BE49-F238E27FC236}">
                <a16:creationId xmlns:a16="http://schemas.microsoft.com/office/drawing/2014/main" id="{2FA1CD20-ECA4-3002-0A6B-ED7734285EA1}"/>
              </a:ext>
            </a:extLst>
          </p:cNvPr>
          <p:cNvSpPr>
            <a:spLocks noGrp="1"/>
          </p:cNvSpPr>
          <p:nvPr>
            <p:ph type="body" sz="quarter" idx="3"/>
          </p:nvPr>
        </p:nvSpPr>
        <p:spPr>
          <a:xfrm>
            <a:off x="6555377" y="1532051"/>
            <a:ext cx="518318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8926734F-1F25-2206-CE5E-427A51061149}"/>
              </a:ext>
            </a:extLst>
          </p:cNvPr>
          <p:cNvSpPr>
            <a:spLocks noGrp="1"/>
          </p:cNvSpPr>
          <p:nvPr>
            <p:ph type="body" sz="quarter" idx="13"/>
          </p:nvPr>
        </p:nvSpPr>
        <p:spPr>
          <a:xfrm>
            <a:off x="523589" y="1514634"/>
            <a:ext cx="479734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7" name="Picture 6" descr="A white surface with a brown surface&#10;&#10;Description automatically generated with medium confidence">
            <a:extLst>
              <a:ext uri="{FF2B5EF4-FFF2-40B4-BE49-F238E27FC236}">
                <a16:creationId xmlns:a16="http://schemas.microsoft.com/office/drawing/2014/main" id="{783128AE-58B8-7085-F57C-AB98DF58D113}"/>
              </a:ext>
            </a:extLst>
          </p:cNvPr>
          <p:cNvPicPr preferRelativeResize="0">
            <a:picLocks/>
          </p:cNvPicPr>
          <p:nvPr userDrawn="1"/>
        </p:nvPicPr>
        <p:blipFill rotWithShape="1">
          <a:blip r:embed="rId5"/>
          <a:srcRect t="76875"/>
          <a:stretch/>
        </p:blipFill>
        <p:spPr>
          <a:xfrm rot="5400000">
            <a:off x="4037280" y="3806558"/>
            <a:ext cx="3825013" cy="45719"/>
          </a:xfrm>
          <a:prstGeom prst="rect">
            <a:avLst/>
          </a:prstGeom>
          <a:effectLst>
            <a:outerShdw blurRad="50800" dist="38100" dir="2700000" algn="tl" rotWithShape="0">
              <a:srgbClr val="F69163">
                <a:alpha val="44000"/>
              </a:srgbClr>
            </a:outerShdw>
          </a:effectLst>
        </p:spPr>
      </p:pic>
    </p:spTree>
    <p:extLst>
      <p:ext uri="{BB962C8B-B14F-4D97-AF65-F5344CB8AC3E}">
        <p14:creationId xmlns:p14="http://schemas.microsoft.com/office/powerpoint/2010/main" val="70250442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 text graphic inse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523589" y="301808"/>
            <a:ext cx="8906802" cy="607555"/>
          </a:xfrm>
          <a:prstGeom prst="rect">
            <a:avLst/>
          </a:prstGeom>
        </p:spPr>
        <p:txBody>
          <a:bodyPr vert="horz">
            <a:noAutofit/>
          </a:bodyPr>
          <a:lstStyle>
            <a:lvl1pPr>
              <a:lnSpc>
                <a:spcPct val="90000"/>
              </a:lnSpc>
              <a:defRPr sz="3200">
                <a:solidFill>
                  <a:schemeClr val="bg1"/>
                </a:solidFill>
                <a:latin typeface="+mj-lt"/>
              </a:defRPr>
            </a:lvl1pPr>
          </a:lstStyle>
          <a:p>
            <a:r>
              <a:rPr lang="en-US" dirty="0"/>
              <a:t>Click to edit Master title style Arial Bold</a:t>
            </a:r>
          </a:p>
        </p:txBody>
      </p:sp>
      <p:sp>
        <p:nvSpPr>
          <p:cNvPr id="2" name="Content Placeholder 2">
            <a:extLst>
              <a:ext uri="{FF2B5EF4-FFF2-40B4-BE49-F238E27FC236}">
                <a16:creationId xmlns:a16="http://schemas.microsoft.com/office/drawing/2014/main" id="{2FC5520E-1159-6C32-5738-E98CB1A35610}"/>
              </a:ext>
            </a:extLst>
          </p:cNvPr>
          <p:cNvSpPr>
            <a:spLocks noGrp="1"/>
          </p:cNvSpPr>
          <p:nvPr>
            <p:ph idx="1"/>
          </p:nvPr>
        </p:nvSpPr>
        <p:spPr>
          <a:xfrm>
            <a:off x="497810" y="3374972"/>
            <a:ext cx="11090131" cy="2593571"/>
          </a:xfrm>
          <a:prstGeom prst="rect">
            <a:avLst/>
          </a:prstGeom>
          <a:ln>
            <a:noFill/>
          </a:ln>
        </p:spPr>
        <p:txBody>
          <a:bodyPr>
            <a:noAutofit/>
          </a:bodyPr>
          <a:lstStyle>
            <a:lvl1pPr>
              <a:buClr>
                <a:srgbClr val="BB5D00"/>
              </a:buClr>
              <a:buSzPct val="110000"/>
              <a:defRPr sz="1800">
                <a:latin typeface="+mj-lt"/>
                <a:cs typeface="Arial" panose="020B0604020202020204" pitchFamily="34" charset="0"/>
              </a:defRPr>
            </a:lvl1pPr>
            <a:lvl2pPr marL="571500" indent="-285750">
              <a:buClr>
                <a:srgbClr val="BB5D00"/>
              </a:buClr>
              <a:buFont typeface="Arial" panose="020B0604020202020204" pitchFamily="34" charset="0"/>
              <a:buChar char="‒"/>
              <a:defRPr sz="18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16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400">
                <a:latin typeface="+mj-lt"/>
                <a:cs typeface="Arial" panose="020B0604020202020204" pitchFamily="34" charset="0"/>
              </a:defRPr>
            </a:lvl4pPr>
            <a:lvl5pPr marL="1139825" indent="-225425">
              <a:buClr>
                <a:srgbClr val="BB5D00"/>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a:extLst>
              <a:ext uri="{FF2B5EF4-FFF2-40B4-BE49-F238E27FC236}">
                <a16:creationId xmlns:a16="http://schemas.microsoft.com/office/drawing/2014/main" id="{B7F87929-4463-ACF6-A600-2F1F9D3AEE96}"/>
              </a:ext>
            </a:extLst>
          </p:cNvPr>
          <p:cNvSpPr>
            <a:spLocks noGrp="1"/>
          </p:cNvSpPr>
          <p:nvPr>
            <p:ph idx="10"/>
          </p:nvPr>
        </p:nvSpPr>
        <p:spPr>
          <a:xfrm>
            <a:off x="497810" y="1399812"/>
            <a:ext cx="11090131" cy="1626022"/>
          </a:xfrm>
          <a:prstGeom prst="rect">
            <a:avLst/>
          </a:prstGeom>
          <a:ln>
            <a:noFill/>
          </a:ln>
        </p:spPr>
        <p:txBody>
          <a:bodyPr>
            <a:noAutofit/>
          </a:bodyPr>
          <a:lstStyle>
            <a:lvl1pPr>
              <a:buClr>
                <a:srgbClr val="BB5D00"/>
              </a:buClr>
              <a:buSzPct val="110000"/>
              <a:defRPr sz="1800">
                <a:latin typeface="+mj-lt"/>
                <a:cs typeface="Arial" panose="020B0604020202020204" pitchFamily="34" charset="0"/>
              </a:defRPr>
            </a:lvl1pPr>
            <a:lvl2pPr marL="571500" indent="-285750">
              <a:buClr>
                <a:srgbClr val="BB5D00"/>
              </a:buClr>
              <a:buFont typeface="Arial" panose="020B0604020202020204" pitchFamily="34" charset="0"/>
              <a:buChar char="‒"/>
              <a:defRPr sz="18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16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400">
                <a:latin typeface="+mj-lt"/>
                <a:cs typeface="Arial" panose="020B0604020202020204" pitchFamily="34" charset="0"/>
              </a:defRPr>
            </a:lvl4pPr>
            <a:lvl5pPr marL="1139825" indent="-225425">
              <a:buClr>
                <a:srgbClr val="BB5D00"/>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320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chart blank text photo">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E1F5752-9C5B-79E7-70B7-618780D7D998}"/>
              </a:ext>
            </a:extLst>
          </p:cNvPr>
          <p:cNvGrpSpPr/>
          <p:nvPr userDrawn="1"/>
        </p:nvGrpSpPr>
        <p:grpSpPr>
          <a:xfrm>
            <a:off x="2795954" y="3494667"/>
            <a:ext cx="6547128" cy="1780502"/>
            <a:chOff x="2795954" y="3320509"/>
            <a:chExt cx="6540700" cy="1955633"/>
          </a:xfrm>
        </p:grpSpPr>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31397"/>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rgbClr val="E5A38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8" name="Picture 7" descr="A white surface with a brown surface&#10;&#10;Description automatically generated with medium confidence">
            <a:extLst>
              <a:ext uri="{FF2B5EF4-FFF2-40B4-BE49-F238E27FC236}">
                <a16:creationId xmlns:a16="http://schemas.microsoft.com/office/drawing/2014/main" id="{08091AF0-A742-C6F5-FD53-3D0D2B9DF5EA}"/>
              </a:ext>
            </a:extLst>
          </p:cNvPr>
          <p:cNvPicPr preferRelativeResize="0">
            <a:picLocks/>
          </p:cNvPicPr>
          <p:nvPr userDrawn="1"/>
        </p:nvPicPr>
        <p:blipFill rotWithShape="1">
          <a:blip r:embed="rId3"/>
          <a:srcRect t="76875"/>
          <a:stretch/>
        </p:blipFill>
        <p:spPr>
          <a:xfrm rot="5400000" flipV="1">
            <a:off x="4943406" y="2307862"/>
            <a:ext cx="2343661" cy="45719"/>
          </a:xfrm>
          <a:prstGeom prst="rect">
            <a:avLst/>
          </a:prstGeom>
          <a:effectLst>
            <a:outerShdw blurRad="50800" dist="38100" dir="2700000" algn="tl" rotWithShape="0">
              <a:srgbClr val="F69163">
                <a:alpha val="44000"/>
              </a:srgbClr>
            </a:outerShdw>
          </a:effectLst>
        </p:spPr>
      </p:pic>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502552"/>
            <a:ext cx="6547128" cy="6143"/>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523589" y="301808"/>
            <a:ext cx="8906802" cy="607555"/>
          </a:xfrm>
          <a:prstGeom prst="rect">
            <a:avLst/>
          </a:prstGeom>
        </p:spPr>
        <p:txBody>
          <a:bodyPr vert="horz">
            <a:noAutofit/>
          </a:bodyPr>
          <a:lstStyle>
            <a:lvl1pPr>
              <a:lnSpc>
                <a:spcPct val="90000"/>
              </a:lnSpc>
              <a:defRPr sz="3200">
                <a:solidFill>
                  <a:schemeClr val="bg1"/>
                </a:solidFill>
                <a:latin typeface="+mj-lt"/>
              </a:defRPr>
            </a:lvl1pPr>
          </a:lstStyle>
          <a:p>
            <a:r>
              <a:rPr lang="en-US" dirty="0"/>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46324" y="2878247"/>
            <a:ext cx="2846389" cy="1431131"/>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780339" y="3041245"/>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4828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4828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8280"/>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A4D6692E-90E4-F1BB-44FE-F0C706834781}"/>
              </a:ext>
            </a:extLst>
          </p:cNvPr>
          <p:cNvSpPr>
            <a:spLocks noGrp="1"/>
          </p:cNvSpPr>
          <p:nvPr>
            <p:ph idx="1"/>
          </p:nvPr>
        </p:nvSpPr>
        <p:spPr>
          <a:xfrm>
            <a:off x="497811" y="1227808"/>
            <a:ext cx="5501657" cy="1452928"/>
          </a:xfrm>
          <a:prstGeom prst="rect">
            <a:avLst/>
          </a:prstGeom>
          <a:ln>
            <a:noFill/>
          </a:ln>
        </p:spPr>
        <p:txBody>
          <a:bodyPr vert="horz" lIns="91440" tIns="45720" rIns="91440" bIns="45720" rtlCol="0">
            <a:noAutofit/>
          </a:bodyPr>
          <a:lstStyle>
            <a:lvl1pPr>
              <a:defRPr sz="2000"/>
            </a:lvl1pPr>
            <a:lvl2pPr>
              <a:defRPr sz="2000"/>
            </a:lvl2pPr>
            <a:lvl3pPr>
              <a:defRPr sz="1800"/>
            </a:lvl3pPr>
            <a:lvl4pPr>
              <a:defRPr sz="16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a:extLst>
              <a:ext uri="{FF2B5EF4-FFF2-40B4-BE49-F238E27FC236}">
                <a16:creationId xmlns:a16="http://schemas.microsoft.com/office/drawing/2014/main" id="{07548FE2-D97B-A78D-65F9-9BD434298E75}"/>
              </a:ext>
            </a:extLst>
          </p:cNvPr>
          <p:cNvSpPr>
            <a:spLocks noGrp="1"/>
          </p:cNvSpPr>
          <p:nvPr>
            <p:ph idx="29"/>
          </p:nvPr>
        </p:nvSpPr>
        <p:spPr>
          <a:xfrm>
            <a:off x="6337562" y="1216166"/>
            <a:ext cx="5501657" cy="1452928"/>
          </a:xfrm>
          <a:prstGeom prst="rect">
            <a:avLst/>
          </a:prstGeom>
          <a:ln>
            <a:noFill/>
          </a:ln>
        </p:spPr>
        <p:txBody>
          <a:bodyPr vert="horz" lIns="91440" tIns="45720" rIns="91440" bIns="45720" rtlCol="0">
            <a:noAutofit/>
          </a:bodyPr>
          <a:lstStyle>
            <a:lvl1pPr>
              <a:defRPr sz="2000"/>
            </a:lvl1pPr>
            <a:lvl2pPr>
              <a:defRPr sz="2000"/>
            </a:lvl2pPr>
            <a:lvl3pPr>
              <a:defRPr sz="1800"/>
            </a:lvl3pPr>
            <a:lvl4pPr>
              <a:defRPr sz="16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9">
            <a:extLst>
              <a:ext uri="{FF2B5EF4-FFF2-40B4-BE49-F238E27FC236}">
                <a16:creationId xmlns:a16="http://schemas.microsoft.com/office/drawing/2014/main" id="{C9A75C58-3AE4-FA0B-6EF4-C474D5C724F4}"/>
              </a:ext>
            </a:extLst>
          </p:cNvPr>
          <p:cNvSpPr/>
          <p:nvPr userDrawn="1"/>
        </p:nvSpPr>
        <p:spPr>
          <a:xfrm>
            <a:off x="6705099" y="5126901"/>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11" name="Rectangle 10">
            <a:extLst>
              <a:ext uri="{FF2B5EF4-FFF2-40B4-BE49-F238E27FC236}">
                <a16:creationId xmlns:a16="http://schemas.microsoft.com/office/drawing/2014/main" id="{BE33187A-741D-D6FE-318C-00BF1E1068DA}"/>
              </a:ext>
            </a:extLst>
          </p:cNvPr>
          <p:cNvSpPr/>
          <p:nvPr userDrawn="1"/>
        </p:nvSpPr>
        <p:spPr>
          <a:xfrm>
            <a:off x="8514323" y="5126901"/>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14" name="Rectangle 13">
            <a:extLst>
              <a:ext uri="{FF2B5EF4-FFF2-40B4-BE49-F238E27FC236}">
                <a16:creationId xmlns:a16="http://schemas.microsoft.com/office/drawing/2014/main" id="{BB51C3D4-FA27-6859-0738-157F9DC7F0B6}"/>
              </a:ext>
            </a:extLst>
          </p:cNvPr>
          <p:cNvSpPr/>
          <p:nvPr userDrawn="1"/>
        </p:nvSpPr>
        <p:spPr>
          <a:xfrm>
            <a:off x="10316229" y="5126901"/>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latin typeface="+mj-lt"/>
            </a:endParaRPr>
          </a:p>
        </p:txBody>
      </p:sp>
      <p:sp>
        <p:nvSpPr>
          <p:cNvPr id="6" name="Text Placeholder 4">
            <a:extLst>
              <a:ext uri="{FF2B5EF4-FFF2-40B4-BE49-F238E27FC236}">
                <a16:creationId xmlns:a16="http://schemas.microsoft.com/office/drawing/2014/main" id="{04A1895D-6964-75EF-3157-495986B8E10A}"/>
              </a:ext>
            </a:extLst>
          </p:cNvPr>
          <p:cNvSpPr>
            <a:spLocks noGrp="1"/>
          </p:cNvSpPr>
          <p:nvPr>
            <p:ph type="body" sz="quarter" idx="22" hasCustomPrompt="1"/>
          </p:nvPr>
        </p:nvSpPr>
        <p:spPr>
          <a:xfrm>
            <a:off x="215659" y="5196483"/>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16" name="Text Placeholder 4">
            <a:extLst>
              <a:ext uri="{FF2B5EF4-FFF2-40B4-BE49-F238E27FC236}">
                <a16:creationId xmlns:a16="http://schemas.microsoft.com/office/drawing/2014/main" id="{907B831A-A902-056B-0B33-1FBD39CB121D}"/>
              </a:ext>
            </a:extLst>
          </p:cNvPr>
          <p:cNvSpPr>
            <a:spLocks noGrp="1"/>
          </p:cNvSpPr>
          <p:nvPr>
            <p:ph type="body" sz="quarter" idx="23" hasCustomPrompt="1"/>
          </p:nvPr>
        </p:nvSpPr>
        <p:spPr>
          <a:xfrm>
            <a:off x="2001162" y="5196483"/>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17" name="Text Placeholder 4">
            <a:extLst>
              <a:ext uri="{FF2B5EF4-FFF2-40B4-BE49-F238E27FC236}">
                <a16:creationId xmlns:a16="http://schemas.microsoft.com/office/drawing/2014/main" id="{8427F256-EF5C-9ED1-AEF7-72E891E058A7}"/>
              </a:ext>
            </a:extLst>
          </p:cNvPr>
          <p:cNvSpPr>
            <a:spLocks noGrp="1"/>
          </p:cNvSpPr>
          <p:nvPr>
            <p:ph type="body" sz="quarter" idx="24" hasCustomPrompt="1"/>
          </p:nvPr>
        </p:nvSpPr>
        <p:spPr>
          <a:xfrm>
            <a:off x="3826789" y="5196483"/>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18" name="Text Placeholder 4">
            <a:extLst>
              <a:ext uri="{FF2B5EF4-FFF2-40B4-BE49-F238E27FC236}">
                <a16:creationId xmlns:a16="http://schemas.microsoft.com/office/drawing/2014/main" id="{241CC2F6-0C8E-57F8-C88E-E82AB07BF328}"/>
              </a:ext>
            </a:extLst>
          </p:cNvPr>
          <p:cNvSpPr>
            <a:spLocks noGrp="1"/>
          </p:cNvSpPr>
          <p:nvPr>
            <p:ph type="body" sz="quarter" idx="30" hasCustomPrompt="1"/>
          </p:nvPr>
        </p:nvSpPr>
        <p:spPr>
          <a:xfrm>
            <a:off x="6789919" y="5200838"/>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19" name="Text Placeholder 4">
            <a:extLst>
              <a:ext uri="{FF2B5EF4-FFF2-40B4-BE49-F238E27FC236}">
                <a16:creationId xmlns:a16="http://schemas.microsoft.com/office/drawing/2014/main" id="{392572BD-2688-AFF7-04C3-8B712550B67F}"/>
              </a:ext>
            </a:extLst>
          </p:cNvPr>
          <p:cNvSpPr>
            <a:spLocks noGrp="1"/>
          </p:cNvSpPr>
          <p:nvPr>
            <p:ph type="body" sz="quarter" idx="31" hasCustomPrompt="1"/>
          </p:nvPr>
        </p:nvSpPr>
        <p:spPr>
          <a:xfrm>
            <a:off x="8575422" y="5200838"/>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20" name="Text Placeholder 4">
            <a:extLst>
              <a:ext uri="{FF2B5EF4-FFF2-40B4-BE49-F238E27FC236}">
                <a16:creationId xmlns:a16="http://schemas.microsoft.com/office/drawing/2014/main" id="{7E07D739-7491-9A54-1373-E4EF33C893D7}"/>
              </a:ext>
            </a:extLst>
          </p:cNvPr>
          <p:cNvSpPr>
            <a:spLocks noGrp="1"/>
          </p:cNvSpPr>
          <p:nvPr>
            <p:ph type="body" sz="quarter" idx="32" hasCustomPrompt="1"/>
          </p:nvPr>
        </p:nvSpPr>
        <p:spPr>
          <a:xfrm>
            <a:off x="10401049" y="5200838"/>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Tree>
    <p:extLst>
      <p:ext uri="{BB962C8B-B14F-4D97-AF65-F5344CB8AC3E}">
        <p14:creationId xmlns:p14="http://schemas.microsoft.com/office/powerpoint/2010/main" val="3275692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COPPER HEAD_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73112" y="1991876"/>
            <a:ext cx="10580687" cy="607555"/>
          </a:xfrm>
          <a:prstGeom prst="rect">
            <a:avLst/>
          </a:prstGeom>
        </p:spPr>
        <p:txBody>
          <a:bodyPr vert="horz">
            <a:noAutofit/>
          </a:bodyPr>
          <a:lstStyle>
            <a:lvl1pPr>
              <a:lnSpc>
                <a:spcPct val="85000"/>
              </a:lnSpc>
              <a:defRPr sz="3200">
                <a:solidFill>
                  <a:srgbClr val="7A604D"/>
                </a:solidFill>
                <a:latin typeface="+mj-lt"/>
              </a:defRPr>
            </a:lvl1pPr>
          </a:lstStyle>
          <a:p>
            <a:r>
              <a:rPr lang="en-US" dirty="0"/>
              <a:t>Click to edit Master title style Arial Bold</a:t>
            </a:r>
          </a:p>
        </p:txBody>
      </p:sp>
      <p:pic>
        <p:nvPicPr>
          <p:cNvPr id="7" name="Picture 35" descr="A close-up of a metal surface&#10;&#10;Description automatically generated">
            <a:extLst>
              <a:ext uri="{FF2B5EF4-FFF2-40B4-BE49-F238E27FC236}">
                <a16:creationId xmlns:a16="http://schemas.microsoft.com/office/drawing/2014/main" id="{DA9890C2-0B4A-67D7-ACF5-0C04FDCDB89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449" r="5438" b="67675"/>
          <a:stretch/>
        </p:blipFill>
        <p:spPr bwMode="auto">
          <a:xfrm>
            <a:off x="0" y="0"/>
            <a:ext cx="121920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white text on a black background&#10;&#10;Description automatically generated">
            <a:extLst>
              <a:ext uri="{FF2B5EF4-FFF2-40B4-BE49-F238E27FC236}">
                <a16:creationId xmlns:a16="http://schemas.microsoft.com/office/drawing/2014/main" id="{31F6E0F3-B299-F491-354D-8E509149DED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19113" y="234950"/>
            <a:ext cx="3214687"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surface with a brown surface&#10;&#10;Description automatically generated with medium confidence">
            <a:extLst>
              <a:ext uri="{FF2B5EF4-FFF2-40B4-BE49-F238E27FC236}">
                <a16:creationId xmlns:a16="http://schemas.microsoft.com/office/drawing/2014/main" id="{1D605FB7-35A4-3A3E-11C3-F7AE9838AA0D}"/>
              </a:ext>
            </a:extLst>
          </p:cNvPr>
          <p:cNvPicPr>
            <a:picLocks noChangeAspect="1"/>
          </p:cNvPicPr>
          <p:nvPr userDrawn="1"/>
        </p:nvPicPr>
        <p:blipFill rotWithShape="1">
          <a:blip r:embed="rId7"/>
          <a:srcRect t="76875"/>
          <a:stretch/>
        </p:blipFill>
        <p:spPr>
          <a:xfrm>
            <a:off x="0" y="1657350"/>
            <a:ext cx="12212638" cy="46038"/>
          </a:xfrm>
          <a:prstGeom prst="rect">
            <a:avLst/>
          </a:prstGeom>
          <a:effectLst>
            <a:outerShdw blurRad="50800" dist="38100" dir="2700000" algn="tl" rotWithShape="0">
              <a:srgbClr val="F69163">
                <a:alpha val="44000"/>
              </a:srgbClr>
            </a:outerShdw>
          </a:effectLst>
        </p:spPr>
      </p:pic>
      <p:pic>
        <p:nvPicPr>
          <p:cNvPr id="10" name="Picture 9">
            <a:extLst>
              <a:ext uri="{FF2B5EF4-FFF2-40B4-BE49-F238E27FC236}">
                <a16:creationId xmlns:a16="http://schemas.microsoft.com/office/drawing/2014/main" id="{277A480A-8348-5647-DC92-B3A43A76885C}"/>
              </a:ext>
            </a:extLst>
          </p:cNvPr>
          <p:cNvPicPr>
            <a:picLocks noChangeAspect="1" noChangeArrowheads="1"/>
          </p:cNvPicPr>
          <p:nvPr userDrawn="1"/>
        </p:nvPicPr>
        <p:blipFill>
          <a:blip r:embed="rId8"/>
          <a:srcRect/>
          <a:stretch>
            <a:fillRect/>
          </a:stretch>
        </p:blipFill>
        <p:spPr bwMode="auto">
          <a:xfrm>
            <a:off x="9361283" y="782766"/>
            <a:ext cx="2174011" cy="609911"/>
          </a:xfrm>
          <a:prstGeom prst="rect">
            <a:avLst/>
          </a:prstGeom>
          <a:noFill/>
          <a:ln>
            <a:noFill/>
          </a:ln>
          <a:effectLst>
            <a:outerShdw dir="5400000" algn="ctr" rotWithShape="0">
              <a:srgbClr val="332E29"/>
            </a:outerShdw>
            <a:softEdge rad="0"/>
          </a:effectLst>
        </p:spPr>
      </p:pic>
      <p:pic>
        <p:nvPicPr>
          <p:cNvPr id="11" name="Picture 10" descr="A white surface with a brown surface&#10;&#10;Description automatically generated with medium confidence">
            <a:extLst>
              <a:ext uri="{FF2B5EF4-FFF2-40B4-BE49-F238E27FC236}">
                <a16:creationId xmlns:a16="http://schemas.microsoft.com/office/drawing/2014/main" id="{1C3C86D9-0D22-6D83-9950-65FEBB19F884}"/>
              </a:ext>
            </a:extLst>
          </p:cNvPr>
          <p:cNvPicPr preferRelativeResize="0">
            <a:picLocks/>
          </p:cNvPicPr>
          <p:nvPr userDrawn="1"/>
        </p:nvPicPr>
        <p:blipFill rotWithShape="1">
          <a:blip r:embed="rId7"/>
          <a:srcRect t="76875"/>
          <a:stretch/>
        </p:blipFill>
        <p:spPr>
          <a:xfrm>
            <a:off x="773113" y="2757488"/>
            <a:ext cx="8588170" cy="45719"/>
          </a:xfrm>
          <a:prstGeom prst="rect">
            <a:avLst/>
          </a:prstGeom>
          <a:effectLst>
            <a:outerShdw blurRad="50800" dist="38100" dir="2700000" algn="tl" rotWithShape="0">
              <a:srgbClr val="F69163">
                <a:alpha val="44000"/>
              </a:srgbClr>
            </a:outerShdw>
          </a:effectLst>
        </p:spPr>
      </p:pic>
      <p:sp>
        <p:nvSpPr>
          <p:cNvPr id="12" name="Content Placeholder 2">
            <a:extLst>
              <a:ext uri="{FF2B5EF4-FFF2-40B4-BE49-F238E27FC236}">
                <a16:creationId xmlns:a16="http://schemas.microsoft.com/office/drawing/2014/main" id="{E23BFAF9-91B8-0B0A-2D42-89B62754C2DC}"/>
              </a:ext>
            </a:extLst>
          </p:cNvPr>
          <p:cNvSpPr>
            <a:spLocks noGrp="1"/>
          </p:cNvSpPr>
          <p:nvPr>
            <p:ph idx="1"/>
          </p:nvPr>
        </p:nvSpPr>
        <p:spPr>
          <a:xfrm>
            <a:off x="773113" y="3141465"/>
            <a:ext cx="10580687" cy="2842476"/>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COPPER HEAD Title 2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98562" y="1871665"/>
            <a:ext cx="11179764" cy="590553"/>
          </a:xfrm>
          <a:prstGeom prst="rect">
            <a:avLst/>
          </a:prstGeom>
        </p:spPr>
        <p:txBody>
          <a:bodyPr vert="horz">
            <a:noAutofit/>
          </a:bodyPr>
          <a:lstStyle>
            <a:lvl1pPr>
              <a:lnSpc>
                <a:spcPct val="85000"/>
              </a:lnSpc>
              <a:defRPr sz="3200">
                <a:solidFill>
                  <a:srgbClr val="934E15"/>
                </a:solidFill>
                <a:latin typeface="+mj-lt"/>
              </a:defRPr>
            </a:lvl1pPr>
          </a:lstStyle>
          <a:p>
            <a:r>
              <a:rPr lang="en-US" dirty="0"/>
              <a:t>Click to edit Master title style Arial Bold</a:t>
            </a:r>
          </a:p>
        </p:txBody>
      </p:sp>
      <p:pic>
        <p:nvPicPr>
          <p:cNvPr id="7" name="Picture 35" descr="A close-up of a metal surface&#10;&#10;Description automatically generated">
            <a:extLst>
              <a:ext uri="{FF2B5EF4-FFF2-40B4-BE49-F238E27FC236}">
                <a16:creationId xmlns:a16="http://schemas.microsoft.com/office/drawing/2014/main" id="{DA9890C2-0B4A-67D7-ACF5-0C04FDCDB89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449" r="5438" b="67675"/>
          <a:stretch/>
        </p:blipFill>
        <p:spPr bwMode="auto">
          <a:xfrm>
            <a:off x="0" y="0"/>
            <a:ext cx="121920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white text on a black background&#10;&#10;Description automatically generated">
            <a:extLst>
              <a:ext uri="{FF2B5EF4-FFF2-40B4-BE49-F238E27FC236}">
                <a16:creationId xmlns:a16="http://schemas.microsoft.com/office/drawing/2014/main" id="{31F6E0F3-B299-F491-354D-8E509149DED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19113" y="234950"/>
            <a:ext cx="3214687"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surface with a brown surface&#10;&#10;Description automatically generated with medium confidence">
            <a:extLst>
              <a:ext uri="{FF2B5EF4-FFF2-40B4-BE49-F238E27FC236}">
                <a16:creationId xmlns:a16="http://schemas.microsoft.com/office/drawing/2014/main" id="{1D605FB7-35A4-3A3E-11C3-F7AE9838AA0D}"/>
              </a:ext>
            </a:extLst>
          </p:cNvPr>
          <p:cNvPicPr>
            <a:picLocks noChangeAspect="1"/>
          </p:cNvPicPr>
          <p:nvPr userDrawn="1"/>
        </p:nvPicPr>
        <p:blipFill rotWithShape="1">
          <a:blip r:embed="rId7"/>
          <a:srcRect t="76875"/>
          <a:stretch/>
        </p:blipFill>
        <p:spPr>
          <a:xfrm>
            <a:off x="0" y="1657350"/>
            <a:ext cx="12212638" cy="46038"/>
          </a:xfrm>
          <a:prstGeom prst="rect">
            <a:avLst/>
          </a:prstGeom>
          <a:effectLst>
            <a:outerShdw blurRad="50800" dist="38100" dir="2700000" algn="tl" rotWithShape="0">
              <a:srgbClr val="F69163">
                <a:alpha val="44000"/>
              </a:srgbClr>
            </a:outerShdw>
          </a:effectLst>
        </p:spPr>
      </p:pic>
      <p:pic>
        <p:nvPicPr>
          <p:cNvPr id="10" name="Picture 9">
            <a:extLst>
              <a:ext uri="{FF2B5EF4-FFF2-40B4-BE49-F238E27FC236}">
                <a16:creationId xmlns:a16="http://schemas.microsoft.com/office/drawing/2014/main" id="{277A480A-8348-5647-DC92-B3A43A76885C}"/>
              </a:ext>
            </a:extLst>
          </p:cNvPr>
          <p:cNvPicPr>
            <a:picLocks noChangeAspect="1" noChangeArrowheads="1"/>
          </p:cNvPicPr>
          <p:nvPr userDrawn="1"/>
        </p:nvPicPr>
        <p:blipFill>
          <a:blip r:embed="rId8"/>
          <a:srcRect/>
          <a:stretch>
            <a:fillRect/>
          </a:stretch>
        </p:blipFill>
        <p:spPr bwMode="auto">
          <a:xfrm>
            <a:off x="9361283" y="782766"/>
            <a:ext cx="2174011" cy="609911"/>
          </a:xfrm>
          <a:prstGeom prst="rect">
            <a:avLst/>
          </a:prstGeom>
          <a:noFill/>
          <a:ln>
            <a:noFill/>
          </a:ln>
          <a:effectLst>
            <a:outerShdw dir="5400000" algn="ctr" rotWithShape="0">
              <a:srgbClr val="332E29"/>
            </a:outerShdw>
            <a:softEdge rad="0"/>
          </a:effectLst>
        </p:spPr>
      </p:pic>
      <p:pic>
        <p:nvPicPr>
          <p:cNvPr id="11" name="Picture 10" descr="A white surface with a brown surface&#10;&#10;Description automatically generated with medium confidence">
            <a:extLst>
              <a:ext uri="{FF2B5EF4-FFF2-40B4-BE49-F238E27FC236}">
                <a16:creationId xmlns:a16="http://schemas.microsoft.com/office/drawing/2014/main" id="{1C3C86D9-0D22-6D83-9950-65FEBB19F884}"/>
              </a:ext>
            </a:extLst>
          </p:cNvPr>
          <p:cNvPicPr preferRelativeResize="0">
            <a:picLocks/>
          </p:cNvPicPr>
          <p:nvPr userDrawn="1"/>
        </p:nvPicPr>
        <p:blipFill rotWithShape="1">
          <a:blip r:embed="rId7"/>
          <a:srcRect t="76875"/>
          <a:stretch/>
        </p:blipFill>
        <p:spPr>
          <a:xfrm rot="5400000" flipV="1">
            <a:off x="4586711" y="4857132"/>
            <a:ext cx="2919701" cy="45719"/>
          </a:xfrm>
          <a:prstGeom prst="rect">
            <a:avLst/>
          </a:prstGeom>
          <a:effectLst>
            <a:outerShdw blurRad="50800" dist="38100" dir="2700000" algn="tl" rotWithShape="0">
              <a:srgbClr val="F69163">
                <a:alpha val="44000"/>
              </a:srgbClr>
            </a:outerShdw>
          </a:effectLst>
        </p:spPr>
      </p:pic>
      <p:sp>
        <p:nvSpPr>
          <p:cNvPr id="12" name="Content Placeholder 2">
            <a:extLst>
              <a:ext uri="{FF2B5EF4-FFF2-40B4-BE49-F238E27FC236}">
                <a16:creationId xmlns:a16="http://schemas.microsoft.com/office/drawing/2014/main" id="{E23BFAF9-91B8-0B0A-2D42-89B62754C2DC}"/>
              </a:ext>
            </a:extLst>
          </p:cNvPr>
          <p:cNvSpPr>
            <a:spLocks noGrp="1"/>
          </p:cNvSpPr>
          <p:nvPr>
            <p:ph idx="1"/>
          </p:nvPr>
        </p:nvSpPr>
        <p:spPr>
          <a:xfrm>
            <a:off x="598562" y="3420141"/>
            <a:ext cx="4797347" cy="2842476"/>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2">
            <a:extLst>
              <a:ext uri="{FF2B5EF4-FFF2-40B4-BE49-F238E27FC236}">
                <a16:creationId xmlns:a16="http://schemas.microsoft.com/office/drawing/2014/main" id="{EAD1E410-DBC5-596C-E05D-A295B5FCD008}"/>
              </a:ext>
            </a:extLst>
          </p:cNvPr>
          <p:cNvSpPr>
            <a:spLocks noGrp="1"/>
          </p:cNvSpPr>
          <p:nvPr>
            <p:ph idx="10"/>
          </p:nvPr>
        </p:nvSpPr>
        <p:spPr>
          <a:xfrm>
            <a:off x="6621542" y="3420141"/>
            <a:ext cx="5183188" cy="2842476"/>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4">
            <a:extLst>
              <a:ext uri="{FF2B5EF4-FFF2-40B4-BE49-F238E27FC236}">
                <a16:creationId xmlns:a16="http://schemas.microsoft.com/office/drawing/2014/main" id="{BE11345D-7A99-8867-1FEC-3D392CB08763}"/>
              </a:ext>
            </a:extLst>
          </p:cNvPr>
          <p:cNvSpPr>
            <a:spLocks noGrp="1"/>
          </p:cNvSpPr>
          <p:nvPr>
            <p:ph type="body" sz="quarter" idx="3"/>
          </p:nvPr>
        </p:nvSpPr>
        <p:spPr>
          <a:xfrm>
            <a:off x="6621542" y="2514472"/>
            <a:ext cx="518318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CFDBB7BE-C9DD-1F27-887A-41C05FF483F5}"/>
              </a:ext>
            </a:extLst>
          </p:cNvPr>
          <p:cNvSpPr>
            <a:spLocks noGrp="1"/>
          </p:cNvSpPr>
          <p:nvPr>
            <p:ph type="body" sz="quarter" idx="13"/>
          </p:nvPr>
        </p:nvSpPr>
        <p:spPr>
          <a:xfrm>
            <a:off x="598562" y="2514472"/>
            <a:ext cx="479734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366155438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5-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76290" y="2653387"/>
            <a:ext cx="6899563" cy="1509659"/>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4" name="Picture 35" descr="A close-up of a metal surface&#10;&#10;Description automatically generated">
            <a:extLst>
              <a:ext uri="{FF2B5EF4-FFF2-40B4-BE49-F238E27FC236}">
                <a16:creationId xmlns:a16="http://schemas.microsoft.com/office/drawing/2014/main" id="{7DAB67A5-52B5-E761-190F-3F552E8F29D6}"/>
              </a:ext>
            </a:extLst>
          </p:cNvPr>
          <p:cNvPicPr preferRelativeResize="0">
            <a:picLocks noChangeArrowheads="1"/>
          </p:cNvPicPr>
          <p:nvPr userDrawn="1"/>
        </p:nvPicPr>
        <p:blipFill rotWithShape="1">
          <a:blip r:embed="rId3"/>
          <a:srcRect l="22753" t="31085" r="43531" b="58009"/>
          <a:stretch/>
        </p:blipFill>
        <p:spPr bwMode="auto">
          <a:xfrm rot="5400000">
            <a:off x="7994783" y="2643689"/>
            <a:ext cx="6903720" cy="1512896"/>
          </a:xfrm>
          <a:prstGeom prst="rect">
            <a:avLst/>
          </a:prstGeom>
          <a:solidFill>
            <a:srgbClr val="705949"/>
          </a:solidFill>
          <a:ln>
            <a:noFill/>
          </a:ln>
          <a:effectLst>
            <a:outerShdw blurRad="50800" dist="38100" dir="2700000" algn="tl" rotWithShape="0">
              <a:prstClr val="black">
                <a:alpha val="40000"/>
              </a:prstClr>
            </a:outerShdw>
          </a:effectLst>
        </p:spPr>
      </p:pic>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41565"/>
            <a:ext cx="10658008" cy="6903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883619" y="2119722"/>
            <a:ext cx="4801809" cy="996827"/>
          </a:xfrm>
          <a:prstGeom prst="rect">
            <a:avLst/>
          </a:prstGeom>
        </p:spPr>
        <p:txBody>
          <a:bodyPr vert="horz" lIns="91440" tIns="45720" rIns="91440" bIns="45720" rtlCol="0" anchor="ctr">
            <a:noAutofit/>
          </a:bodyPr>
          <a:lstStyle>
            <a:lvl1pPr>
              <a:defRPr sz="2800">
                <a:solidFill>
                  <a:schemeClr val="bg1"/>
                </a:solidFill>
                <a:latin typeface="+mj-lt"/>
              </a:defRPr>
            </a:lvl1pPr>
          </a:lstStyle>
          <a:p>
            <a:r>
              <a:rPr lang="en-US"/>
              <a:t>Click to edit Master title style</a:t>
            </a:r>
            <a:endParaRPr lang="en-US" dirty="0"/>
          </a:p>
        </p:txBody>
      </p:sp>
      <p:pic>
        <p:nvPicPr>
          <p:cNvPr id="5" name="Picture 4" descr="A white surface with a brown surface&#10;&#10;Description automatically generated with medium confidence">
            <a:extLst>
              <a:ext uri="{FF2B5EF4-FFF2-40B4-BE49-F238E27FC236}">
                <a16:creationId xmlns:a16="http://schemas.microsoft.com/office/drawing/2014/main" id="{58780453-E26A-83FB-0E4C-995A0DB74441}"/>
              </a:ext>
            </a:extLst>
          </p:cNvPr>
          <p:cNvPicPr preferRelativeResize="0">
            <a:picLocks/>
          </p:cNvPicPr>
          <p:nvPr userDrawn="1"/>
        </p:nvPicPr>
        <p:blipFill rotWithShape="1">
          <a:blip r:embed="rId6"/>
          <a:srcRect t="76875"/>
          <a:stretch/>
        </p:blipFill>
        <p:spPr>
          <a:xfrm rot="5400000">
            <a:off x="7223853" y="3380958"/>
            <a:ext cx="6899563" cy="50820"/>
          </a:xfrm>
          <a:prstGeom prst="rect">
            <a:avLst/>
          </a:prstGeom>
          <a:effectLst>
            <a:outerShdw blurRad="50800" dist="38100" dir="2700000" algn="tl" rotWithShape="0">
              <a:srgbClr val="F69163">
                <a:alpha val="44000"/>
              </a:srgbClr>
            </a:outerShdw>
          </a:effectLst>
        </p:spPr>
      </p:pic>
      <p:pic>
        <p:nvPicPr>
          <p:cNvPr id="7" name="Picture 7" descr="A picture containing text&#10;&#10;Description automatically generated">
            <a:extLst>
              <a:ext uri="{FF2B5EF4-FFF2-40B4-BE49-F238E27FC236}">
                <a16:creationId xmlns:a16="http://schemas.microsoft.com/office/drawing/2014/main" id="{E2E15CDE-441C-1A26-80F0-2248A9D844D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rot="5400000">
            <a:off x="10522032" y="5847941"/>
            <a:ext cx="1413162" cy="51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53B4C645-301D-7E54-AB7D-DBFCD9362E98}"/>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rot="5400000">
            <a:off x="10433857" y="4404016"/>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a:extLst>
              <a:ext uri="{FF2B5EF4-FFF2-40B4-BE49-F238E27FC236}">
                <a16:creationId xmlns:a16="http://schemas.microsoft.com/office/drawing/2014/main" id="{8888420E-A35D-2CFE-2B8E-3923F03E2346}"/>
              </a:ext>
            </a:extLst>
          </p:cNvPr>
          <p:cNvSpPr txBox="1">
            <a:spLocks/>
          </p:cNvSpPr>
          <p:nvPr userDrawn="1"/>
        </p:nvSpPr>
        <p:spPr>
          <a:xfrm rot="5400000">
            <a:off x="-126622" y="6469862"/>
            <a:ext cx="477866"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mtClean="0">
                <a:solidFill>
                  <a:schemeClr val="tx1"/>
                </a:solidFill>
              </a:rPr>
              <a:pPr/>
              <a:t>‹Nº›</a:t>
            </a:fld>
            <a:endParaRPr lang="en-US" dirty="0">
              <a:solidFill>
                <a:schemeClr val="tx1"/>
              </a:solidFill>
            </a:endParaRPr>
          </a:p>
        </p:txBody>
      </p:sp>
      <p:sp>
        <p:nvSpPr>
          <p:cNvPr id="10" name="Content Placeholder 2">
            <a:extLst>
              <a:ext uri="{FF2B5EF4-FFF2-40B4-BE49-F238E27FC236}">
                <a16:creationId xmlns:a16="http://schemas.microsoft.com/office/drawing/2014/main" id="{710F564E-E6D2-7B57-0167-4F8424CCE1A6}"/>
              </a:ext>
            </a:extLst>
          </p:cNvPr>
          <p:cNvSpPr>
            <a:spLocks noGrp="1"/>
          </p:cNvSpPr>
          <p:nvPr>
            <p:ph idx="1"/>
          </p:nvPr>
        </p:nvSpPr>
        <p:spPr>
          <a:xfrm rot="5400000">
            <a:off x="5792103" y="1998866"/>
            <a:ext cx="6396825" cy="2842477"/>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70718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Nº›</a:t>
            </a:fld>
            <a:endParaRPr lang="en-US"/>
          </a:p>
        </p:txBody>
      </p:sp>
    </p:spTree>
    <p:extLst>
      <p:ext uri="{BB962C8B-B14F-4D97-AF65-F5344CB8AC3E}">
        <p14:creationId xmlns:p14="http://schemas.microsoft.com/office/powerpoint/2010/main" val="15512234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White title slide_CuMark">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5" descr="A close-up of a metal surface&#10;&#10;Description automatically generated">
            <a:extLst>
              <a:ext uri="{FF2B5EF4-FFF2-40B4-BE49-F238E27FC236}">
                <a16:creationId xmlns:a16="http://schemas.microsoft.com/office/drawing/2014/main" id="{C459347F-B010-C696-7FA3-DF009925D0B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034" t="12659" r="9909" b="41203"/>
          <a:stretch>
            <a:fillRect/>
          </a:stretch>
        </p:blipFill>
        <p:spPr bwMode="auto">
          <a:xfrm>
            <a:off x="0" y="-44626"/>
            <a:ext cx="12192000" cy="4138613"/>
          </a:xfrm>
          <a:prstGeom prst="rect">
            <a:avLst/>
          </a:prstGeom>
          <a:solidFill>
            <a:srgbClr val="6F5848"/>
          </a:solidFill>
          <a:ln>
            <a:noFill/>
          </a:ln>
          <a:effectLst>
            <a:outerShdw algn="ctr" rotWithShape="0">
              <a:srgbClr val="705949"/>
            </a:outerShdw>
          </a:effectLst>
          <a:extLst>
            <a:ext uri="{91240B29-F687-4F45-9708-019B960494DF}">
              <a14:hiddenLine xmlns:a14="http://schemas.microsoft.com/office/drawing/2010/main" w="9525">
                <a:solidFill>
                  <a:srgbClr val="000000"/>
                </a:solidFill>
                <a:miter lim="800000"/>
                <a:headEnd/>
                <a:tailEnd/>
              </a14:hiddenLine>
            </a:ext>
          </a:extLst>
        </p:spPr>
      </p:pic>
      <p:sp>
        <p:nvSpPr>
          <p:cNvPr id="8" name="TextBox 19">
            <a:extLst>
              <a:ext uri="{FF2B5EF4-FFF2-40B4-BE49-F238E27FC236}">
                <a16:creationId xmlns:a16="http://schemas.microsoft.com/office/drawing/2014/main" id="{B332FC75-8C9E-45F4-879D-39F6AAC1E664}"/>
              </a:ext>
            </a:extLst>
          </p:cNvPr>
          <p:cNvSpPr txBox="1">
            <a:spLocks noChangeArrowheads="1"/>
          </p:cNvSpPr>
          <p:nvPr userDrawn="1"/>
        </p:nvSpPr>
        <p:spPr bwMode="auto">
          <a:xfrm>
            <a:off x="8851900" y="4560888"/>
            <a:ext cx="30972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200" dirty="0">
                <a:solidFill>
                  <a:srgbClr val="8D6E59"/>
                </a:solidFill>
              </a:rPr>
              <a:t>fcx.com</a:t>
            </a:r>
          </a:p>
        </p:txBody>
      </p:sp>
      <p:cxnSp>
        <p:nvCxnSpPr>
          <p:cNvPr id="9" name="Straight Connector 8">
            <a:extLst>
              <a:ext uri="{FF2B5EF4-FFF2-40B4-BE49-F238E27FC236}">
                <a16:creationId xmlns:a16="http://schemas.microsoft.com/office/drawing/2014/main" id="{9D0C3E55-B65C-B3FF-8ED5-0E3A86F00B51}"/>
              </a:ext>
            </a:extLst>
          </p:cNvPr>
          <p:cNvCxnSpPr>
            <a:cxnSpLocks/>
          </p:cNvCxnSpPr>
          <p:nvPr userDrawn="1"/>
        </p:nvCxnSpPr>
        <p:spPr>
          <a:xfrm>
            <a:off x="8851900" y="5950455"/>
            <a:ext cx="3068638" cy="0"/>
          </a:xfrm>
          <a:prstGeom prst="line">
            <a:avLst/>
          </a:prstGeom>
          <a:ln w="19050">
            <a:solidFill>
              <a:srgbClr val="7A604D"/>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E9B72ED-114F-BB1E-CB05-B2FADCC996A5}"/>
              </a:ext>
            </a:extLst>
          </p:cNvPr>
          <p:cNvSpPr/>
          <p:nvPr userDrawn="1"/>
        </p:nvSpPr>
        <p:spPr>
          <a:xfrm>
            <a:off x="8851900" y="3594100"/>
            <a:ext cx="3068638" cy="86677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1" name="Picture 4" descr="A black and orange logo&#10;&#10;Description automatically generated">
            <a:extLst>
              <a:ext uri="{FF2B5EF4-FFF2-40B4-BE49-F238E27FC236}">
                <a16:creationId xmlns:a16="http://schemas.microsoft.com/office/drawing/2014/main" id="{45AB0B1B-B91D-940D-1F83-85C4F2AB908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185275" y="3733800"/>
            <a:ext cx="2433638"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 descr="Shape&#10;&#10;Description automatically generated with low confidence">
            <a:extLst>
              <a:ext uri="{FF2B5EF4-FFF2-40B4-BE49-F238E27FC236}">
                <a16:creationId xmlns:a16="http://schemas.microsoft.com/office/drawing/2014/main" id="{A380301F-0181-067C-CD93-B6EA710CEF3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982075" y="6086980"/>
            <a:ext cx="46672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phic 9">
            <a:extLst>
              <a:ext uri="{FF2B5EF4-FFF2-40B4-BE49-F238E27FC236}">
                <a16:creationId xmlns:a16="http://schemas.microsoft.com/office/drawing/2014/main" id="{D1AE8423-1332-B224-7BB0-8B5536B9F77E}"/>
              </a:ext>
            </a:extLst>
          </p:cNvPr>
          <p:cNvPicPr>
            <a:picLocks noChangeAspect="1"/>
          </p:cNvPicPr>
          <p:nvPr userDrawn="1"/>
        </p:nvPicPr>
        <p:blipFill>
          <a:blip r:embed="rId8"/>
          <a:stretch>
            <a:fillRect/>
          </a:stretch>
        </p:blipFill>
        <p:spPr>
          <a:xfrm>
            <a:off x="9802544" y="6150480"/>
            <a:ext cx="1244600" cy="407987"/>
          </a:xfrm>
          <a:prstGeom prst="rect">
            <a:avLst/>
          </a:prstGeom>
        </p:spPr>
      </p:pic>
      <p:pic>
        <p:nvPicPr>
          <p:cNvPr id="14" name="Picture 10" descr="Logo&#10;&#10;Description automatically generated with low confidence">
            <a:extLst>
              <a:ext uri="{FF2B5EF4-FFF2-40B4-BE49-F238E27FC236}">
                <a16:creationId xmlns:a16="http://schemas.microsoft.com/office/drawing/2014/main" id="{C9C1C065-5B24-57FF-E754-BEB75C4496A8}"/>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l="4074" t="4321" r="-20360" b="-3291"/>
          <a:stretch>
            <a:fillRect/>
          </a:stretch>
        </p:blipFill>
        <p:spPr bwMode="auto">
          <a:xfrm>
            <a:off x="11328132" y="6040942"/>
            <a:ext cx="706437"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7" descr="A white text on a black background&#10;&#10;Description automatically generated">
            <a:extLst>
              <a:ext uri="{FF2B5EF4-FFF2-40B4-BE49-F238E27FC236}">
                <a16:creationId xmlns:a16="http://schemas.microsoft.com/office/drawing/2014/main" id="{E27EAD57-CC9A-906B-452B-3D51F71FEDE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42900" y="571875"/>
            <a:ext cx="5013325" cy="199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919859CB-D776-C4D0-ACB8-E6A6D4F09718}"/>
              </a:ext>
            </a:extLst>
          </p:cNvPr>
          <p:cNvPicPr>
            <a:picLocks noChangeAspect="1"/>
          </p:cNvPicPr>
          <p:nvPr userDrawn="1"/>
        </p:nvPicPr>
        <p:blipFill>
          <a:blip r:embed="rId11"/>
          <a:stretch>
            <a:fillRect/>
          </a:stretch>
        </p:blipFill>
        <p:spPr>
          <a:xfrm>
            <a:off x="485894" y="2832743"/>
            <a:ext cx="1608312" cy="895349"/>
          </a:xfrm>
          <a:prstGeom prst="rect">
            <a:avLst/>
          </a:prstGeom>
        </p:spPr>
      </p:pic>
    </p:spTree>
    <p:extLst>
      <p:ext uri="{BB962C8B-B14F-4D97-AF65-F5344CB8AC3E}">
        <p14:creationId xmlns:p14="http://schemas.microsoft.com/office/powerpoint/2010/main" val="24139135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appendix_white">
    <p:spTree>
      <p:nvGrpSpPr>
        <p:cNvPr id="1" name=""/>
        <p:cNvGrpSpPr/>
        <p:nvPr/>
      </p:nvGrpSpPr>
      <p:grpSpPr>
        <a:xfrm>
          <a:off x="0" y="0"/>
          <a:ext cx="0" cy="0"/>
          <a:chOff x="0" y="0"/>
          <a:chExt cx="0" cy="0"/>
        </a:xfrm>
      </p:grpSpPr>
      <p:pic>
        <p:nvPicPr>
          <p:cNvPr id="3" name="Picture 35" descr="A close-up of a metal surface&#10;&#10;Description automatically generated">
            <a:extLst>
              <a:ext uri="{FF2B5EF4-FFF2-40B4-BE49-F238E27FC236}">
                <a16:creationId xmlns:a16="http://schemas.microsoft.com/office/drawing/2014/main" id="{D409DC80-0EB0-6B8E-8257-D833220C61A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1288" r="20634" b="22900"/>
          <a:stretch>
            <a:fillRect/>
          </a:stretch>
        </p:blipFill>
        <p:spPr bwMode="auto">
          <a:xfrm>
            <a:off x="0" y="-20638"/>
            <a:ext cx="12192000" cy="688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756FC7E2-DE66-D293-5269-79F950D86DB4}"/>
              </a:ext>
            </a:extLst>
          </p:cNvPr>
          <p:cNvSpPr/>
          <p:nvPr userDrawn="1"/>
        </p:nvSpPr>
        <p:spPr>
          <a:xfrm>
            <a:off x="706438" y="-14288"/>
            <a:ext cx="4527550" cy="687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8" name="Picture 18" descr="A white text on a black background&#10;&#10;Description automatically generated">
            <a:extLst>
              <a:ext uri="{FF2B5EF4-FFF2-40B4-BE49-F238E27FC236}">
                <a16:creationId xmlns:a16="http://schemas.microsoft.com/office/drawing/2014/main" id="{C564AAC3-8D44-85DE-F27D-897A5DFB571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940425" y="1149350"/>
            <a:ext cx="5561013"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A black and orange logo&#10;&#10;Description automatically generated">
            <a:extLst>
              <a:ext uri="{FF2B5EF4-FFF2-40B4-BE49-F238E27FC236}">
                <a16:creationId xmlns:a16="http://schemas.microsoft.com/office/drawing/2014/main" id="{C2A3DC06-A248-910C-BE4A-C916756806B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754188" y="5943600"/>
            <a:ext cx="24320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white surface with a brown surface&#10;&#10;Description automatically generated with medium confidence">
            <a:extLst>
              <a:ext uri="{FF2B5EF4-FFF2-40B4-BE49-F238E27FC236}">
                <a16:creationId xmlns:a16="http://schemas.microsoft.com/office/drawing/2014/main" id="{870383C2-7656-FC7F-66B8-916C097FCEA7}"/>
              </a:ext>
            </a:extLst>
          </p:cNvPr>
          <p:cNvPicPr preferRelativeResize="0">
            <a:picLocks noChangeArrowheads="1"/>
          </p:cNvPicPr>
          <p:nvPr userDrawn="1"/>
        </p:nvPicPr>
        <p:blipFill>
          <a:blip r:embed="rId6">
            <a:extLst>
              <a:ext uri="{28A0092B-C50C-407E-A947-70E740481C1C}">
                <a14:useLocalDpi xmlns:a14="http://schemas.microsoft.com/office/drawing/2010/main" val="0"/>
              </a:ext>
            </a:extLst>
          </a:blip>
          <a:srcRect l="76875"/>
          <a:stretch>
            <a:fillRect/>
          </a:stretch>
        </p:blipFill>
        <p:spPr bwMode="auto">
          <a:xfrm>
            <a:off x="5187950" y="-14288"/>
            <a:ext cx="46038" cy="6883401"/>
          </a:xfrm>
          <a:prstGeom prst="rect">
            <a:avLst/>
          </a:prstGeom>
          <a:noFill/>
          <a:ln>
            <a:noFill/>
          </a:ln>
          <a:effectLst>
            <a:outerShdw blurRad="50800" dist="38100" dir="2700000" algn="tl" rotWithShape="0">
              <a:srgbClr val="F69163">
                <a:alpha val="43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A white surface with a brown surface&#10;&#10;Description automatically generated with medium confidence">
            <a:extLst>
              <a:ext uri="{FF2B5EF4-FFF2-40B4-BE49-F238E27FC236}">
                <a16:creationId xmlns:a16="http://schemas.microsoft.com/office/drawing/2014/main" id="{EAE5BE37-2D5C-4F9D-EC0E-B01E6616AEAC}"/>
              </a:ext>
            </a:extLst>
          </p:cNvPr>
          <p:cNvPicPr preferRelativeResize="0">
            <a:picLocks noChangeArrowheads="1"/>
          </p:cNvPicPr>
          <p:nvPr userDrawn="1"/>
        </p:nvPicPr>
        <p:blipFill>
          <a:blip r:embed="rId6">
            <a:extLst>
              <a:ext uri="{28A0092B-C50C-407E-A947-70E740481C1C}">
                <a14:useLocalDpi xmlns:a14="http://schemas.microsoft.com/office/drawing/2010/main" val="0"/>
              </a:ext>
            </a:extLst>
          </a:blip>
          <a:srcRect l="76875"/>
          <a:stretch>
            <a:fillRect/>
          </a:stretch>
        </p:blipFill>
        <p:spPr bwMode="auto">
          <a:xfrm>
            <a:off x="669925" y="0"/>
            <a:ext cx="46038" cy="6865938"/>
          </a:xfrm>
          <a:prstGeom prst="rect">
            <a:avLst/>
          </a:prstGeom>
          <a:noFill/>
          <a:ln>
            <a:noFill/>
          </a:ln>
          <a:effectLst>
            <a:outerShdw blurRad="50800" dist="38100" dir="2700000" algn="tl" rotWithShape="0">
              <a:srgbClr val="F69163">
                <a:alpha val="43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DE4059FD-FABF-985C-1EFD-8E12B0A25D6C}"/>
              </a:ext>
            </a:extLst>
          </p:cNvPr>
          <p:cNvSpPr txBox="1">
            <a:spLocks/>
          </p:cNvSpPr>
          <p:nvPr userDrawn="1"/>
        </p:nvSpPr>
        <p:spPr>
          <a:xfrm>
            <a:off x="11819609" y="6591101"/>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mtClean="0"/>
              <a:pPr/>
              <a:t>‹Nº›</a:t>
            </a:fld>
            <a:endParaRPr lang="en-US" dirty="0"/>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 copper_Title and bullet">
    <p:spTree>
      <p:nvGrpSpPr>
        <p:cNvPr id="1" name=""/>
        <p:cNvGrpSpPr/>
        <p:nvPr/>
      </p:nvGrpSpPr>
      <p:grpSpPr>
        <a:xfrm>
          <a:off x="0" y="0"/>
          <a:ext cx="0" cy="0"/>
          <a:chOff x="0" y="0"/>
          <a:chExt cx="0" cy="0"/>
        </a:xfrm>
      </p:grpSpPr>
      <p:pic>
        <p:nvPicPr>
          <p:cNvPr id="4" name="Picture 3" descr="A white surface with a brown surface&#10;&#10;Description automatically generated with medium confidence">
            <a:extLst>
              <a:ext uri="{FF2B5EF4-FFF2-40B4-BE49-F238E27FC236}">
                <a16:creationId xmlns:a16="http://schemas.microsoft.com/office/drawing/2014/main" id="{6AF9B727-DE68-F75E-B10C-A6A9B3897E95}"/>
              </a:ext>
            </a:extLst>
          </p:cNvPr>
          <p:cNvPicPr>
            <a:picLocks noChangeAspect="1"/>
          </p:cNvPicPr>
          <p:nvPr userDrawn="1"/>
        </p:nvPicPr>
        <p:blipFill rotWithShape="1">
          <a:blip r:embed="rId3"/>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5" name="Picture 7" descr="A picture containing text&#10;&#10;Description automatically generated">
            <a:extLst>
              <a:ext uri="{FF2B5EF4-FFF2-40B4-BE49-F238E27FC236}">
                <a16:creationId xmlns:a16="http://schemas.microsoft.com/office/drawing/2014/main" id="{75A6D313-53B0-28B6-1C05-A1730A66591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8EBC196-5E16-6B02-641C-95AE459A294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29241" y="325229"/>
            <a:ext cx="8779076" cy="607555"/>
          </a:xfrm>
          <a:prstGeom prst="rect">
            <a:avLst/>
          </a:prstGeom>
        </p:spPr>
        <p:txBody>
          <a:bodyPr vert="horz">
            <a:noAutofit/>
          </a:bodyPr>
          <a:lstStyle>
            <a:lvl1pPr>
              <a:lnSpc>
                <a:spcPct val="85000"/>
              </a:lnSpc>
              <a:defRPr sz="32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81791"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20635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 copper_Title only">
    <p:spTree>
      <p:nvGrpSpPr>
        <p:cNvPr id="1" name=""/>
        <p:cNvGrpSpPr/>
        <p:nvPr/>
      </p:nvGrpSpPr>
      <p:grpSpPr>
        <a:xfrm>
          <a:off x="0" y="0"/>
          <a:ext cx="0" cy="0"/>
          <a:chOff x="0" y="0"/>
          <a:chExt cx="0" cy="0"/>
        </a:xfrm>
      </p:grpSpPr>
      <p:pic>
        <p:nvPicPr>
          <p:cNvPr id="2" name="Picture 35" descr="A close-up of a metal surface&#10;&#10;Description automatically generated">
            <a:extLst>
              <a:ext uri="{FF2B5EF4-FFF2-40B4-BE49-F238E27FC236}">
                <a16:creationId xmlns:a16="http://schemas.microsoft.com/office/drawing/2014/main" id="{8C418763-0FEF-737E-E25A-7971C95E3481}"/>
              </a:ext>
            </a:extLst>
          </p:cNvPr>
          <p:cNvPicPr>
            <a:picLocks noChangeAspect="1" noChangeArrowheads="1"/>
          </p:cNvPicPr>
          <p:nvPr userDrawn="1"/>
        </p:nvPicPr>
        <p:blipFill rotWithShape="1">
          <a:blip r:embed="rId3"/>
          <a:srcRect l="-1870" t="33636" r="42549" b="58009"/>
          <a:stretch/>
        </p:blipFill>
        <p:spPr bwMode="auto">
          <a:xfrm>
            <a:off x="0" y="0"/>
            <a:ext cx="12212638" cy="1165225"/>
          </a:xfrm>
          <a:prstGeom prst="rect">
            <a:avLst/>
          </a:prstGeom>
          <a:solidFill>
            <a:srgbClr val="705949"/>
          </a:solidFill>
          <a:ln>
            <a:noFill/>
          </a:ln>
          <a:effectLst>
            <a:outerShdw blurRad="50800" dist="38100" dir="2700000" algn="tl" rotWithShape="0">
              <a:prstClr val="black">
                <a:alpha val="40000"/>
              </a:prstClr>
            </a:outerShdw>
          </a:effectLst>
        </p:spPr>
      </p:pic>
      <p:pic>
        <p:nvPicPr>
          <p:cNvPr id="4" name="Picture 3" descr="A white surface with a brown surface&#10;&#10;Description automatically generated with medium confidence">
            <a:extLst>
              <a:ext uri="{FF2B5EF4-FFF2-40B4-BE49-F238E27FC236}">
                <a16:creationId xmlns:a16="http://schemas.microsoft.com/office/drawing/2014/main" id="{6AF9B727-DE68-F75E-B10C-A6A9B3897E95}"/>
              </a:ext>
            </a:extLst>
          </p:cNvPr>
          <p:cNvPicPr>
            <a:picLocks noChangeAspect="1"/>
          </p:cNvPicPr>
          <p:nvPr userDrawn="1"/>
        </p:nvPicPr>
        <p:blipFill rotWithShape="1">
          <a:blip r:embed="rId4"/>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5" name="Picture 7" descr="A picture containing text&#10;&#10;Description automatically generated">
            <a:extLst>
              <a:ext uri="{FF2B5EF4-FFF2-40B4-BE49-F238E27FC236}">
                <a16:creationId xmlns:a16="http://schemas.microsoft.com/office/drawing/2014/main" id="{75A6D313-53B0-28B6-1C05-A1730A66591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8EBC196-5E16-6B02-641C-95AE459A294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29241" y="325229"/>
            <a:ext cx="8779076" cy="607555"/>
          </a:xfrm>
          <a:prstGeom prst="rect">
            <a:avLst/>
          </a:prstGeom>
        </p:spPr>
        <p:txBody>
          <a:bodyPr vert="horz">
            <a:noAutofit/>
          </a:bodyPr>
          <a:lstStyle>
            <a:lvl1pPr>
              <a:lnSpc>
                <a:spcPct val="85000"/>
              </a:lnSpc>
              <a:defRPr sz="3200">
                <a:solidFill>
                  <a:schemeClr val="bg1"/>
                </a:solidFill>
                <a:latin typeface="+mj-lt"/>
              </a:defRPr>
            </a:lvl1pPr>
          </a:lstStyle>
          <a:p>
            <a:r>
              <a:rPr lang="en-US" dirty="0"/>
              <a:t>Click to edit Master title style Arial Bold</a:t>
            </a:r>
          </a:p>
        </p:txBody>
      </p:sp>
    </p:spTree>
    <p:extLst>
      <p:ext uri="{BB962C8B-B14F-4D97-AF65-F5344CB8AC3E}">
        <p14:creationId xmlns:p14="http://schemas.microsoft.com/office/powerpoint/2010/main" val="12901447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copper Title and subtitle-bullet">
    <p:spTree>
      <p:nvGrpSpPr>
        <p:cNvPr id="1" name=""/>
        <p:cNvGrpSpPr/>
        <p:nvPr/>
      </p:nvGrpSpPr>
      <p:grpSpPr>
        <a:xfrm>
          <a:off x="0" y="0"/>
          <a:ext cx="0" cy="0"/>
          <a:chOff x="0" y="0"/>
          <a:chExt cx="0" cy="0"/>
        </a:xfrm>
      </p:grpSpPr>
      <p:pic>
        <p:nvPicPr>
          <p:cNvPr id="4" name="Picture 35" descr="A close-up of a metal surface&#10;&#10;Description automatically generated">
            <a:extLst>
              <a:ext uri="{FF2B5EF4-FFF2-40B4-BE49-F238E27FC236}">
                <a16:creationId xmlns:a16="http://schemas.microsoft.com/office/drawing/2014/main" id="{08B455C5-DE9D-989B-2CDB-F9095333D429}"/>
              </a:ext>
            </a:extLst>
          </p:cNvPr>
          <p:cNvPicPr>
            <a:picLocks noChangeAspect="1" noChangeArrowheads="1"/>
          </p:cNvPicPr>
          <p:nvPr userDrawn="1"/>
        </p:nvPicPr>
        <p:blipFill rotWithShape="1">
          <a:blip r:embed="rId3"/>
          <a:srcRect l="-1870" t="33636" r="42549" b="58009"/>
          <a:stretch/>
        </p:blipFill>
        <p:spPr bwMode="auto">
          <a:xfrm>
            <a:off x="0" y="0"/>
            <a:ext cx="12212638" cy="1165225"/>
          </a:xfrm>
          <a:prstGeom prst="rect">
            <a:avLst/>
          </a:prstGeom>
          <a:solidFill>
            <a:srgbClr val="705949"/>
          </a:solidFill>
          <a:ln>
            <a:noFill/>
          </a:ln>
          <a:effectLst>
            <a:outerShdw blurRad="50800" dist="38100" dir="2700000" algn="tl" rotWithShape="0">
              <a:prstClr val="black">
                <a:alpha val="40000"/>
              </a:prstClr>
            </a:outerShdw>
          </a:effectLst>
        </p:spPr>
      </p:pic>
      <p:pic>
        <p:nvPicPr>
          <p:cNvPr id="5" name="Picture 4" descr="A white surface with a brown surface&#10;&#10;Description automatically generated with medium confidence">
            <a:extLst>
              <a:ext uri="{FF2B5EF4-FFF2-40B4-BE49-F238E27FC236}">
                <a16:creationId xmlns:a16="http://schemas.microsoft.com/office/drawing/2014/main" id="{CFC8A47B-675D-D263-44E1-B85994A203F5}"/>
              </a:ext>
            </a:extLst>
          </p:cNvPr>
          <p:cNvPicPr>
            <a:picLocks noChangeAspect="1"/>
          </p:cNvPicPr>
          <p:nvPr userDrawn="1"/>
        </p:nvPicPr>
        <p:blipFill rotWithShape="1">
          <a:blip r:embed="rId4"/>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7" name="Picture 7" descr="A picture containing text&#10;&#10;Description automatically generated">
            <a:extLst>
              <a:ext uri="{FF2B5EF4-FFF2-40B4-BE49-F238E27FC236}">
                <a16:creationId xmlns:a16="http://schemas.microsoft.com/office/drawing/2014/main" id="{2B468AB1-5018-50CB-281E-0E9A15118F4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E98175B4-E830-8371-1EBE-C245C8F3EB2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29241" y="373355"/>
            <a:ext cx="8677824" cy="392904"/>
          </a:xfrm>
          <a:prstGeom prst="rect">
            <a:avLst/>
          </a:prstGeom>
        </p:spPr>
        <p:txBody>
          <a:bodyPr vert="horz">
            <a:noAutofit/>
          </a:bodyPr>
          <a:lstStyle>
            <a:lvl1pPr>
              <a:lnSpc>
                <a:spcPct val="85000"/>
              </a:lnSpc>
              <a:defRPr sz="28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81791" y="1519518"/>
            <a:ext cx="10572316" cy="446442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ubtitle 2">
            <a:extLst>
              <a:ext uri="{FF2B5EF4-FFF2-40B4-BE49-F238E27FC236}">
                <a16:creationId xmlns:a16="http://schemas.microsoft.com/office/drawing/2014/main" id="{5A236EC8-4CCB-F3A2-8D2E-C104B12B27FA}"/>
              </a:ext>
            </a:extLst>
          </p:cNvPr>
          <p:cNvSpPr>
            <a:spLocks noGrp="1"/>
          </p:cNvSpPr>
          <p:nvPr>
            <p:ph type="subTitle" idx="13"/>
          </p:nvPr>
        </p:nvSpPr>
        <p:spPr>
          <a:xfrm>
            <a:off x="529241" y="766259"/>
            <a:ext cx="8667316" cy="311849"/>
          </a:xfrm>
          <a:prstGeom prst="rect">
            <a:avLst/>
          </a:prstGeom>
          <a:ln>
            <a:noFill/>
          </a:ln>
        </p:spPr>
        <p:txBody>
          <a:bodyPr>
            <a:noAutofit/>
          </a:bodyPr>
          <a:lstStyle>
            <a:lvl1pPr marL="0" indent="0" algn="l">
              <a:buNone/>
              <a:defRPr sz="18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64053096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and bulle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943A4F8-324D-62EA-D0D8-312153B6EBC5}"/>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87204" y="271012"/>
            <a:ext cx="8865017" cy="675389"/>
          </a:xfrm>
          <a:prstGeom prst="rect">
            <a:avLst/>
          </a:prstGeom>
        </p:spPr>
        <p:txBody>
          <a:bodyPr vert="horz">
            <a:noAutofit/>
          </a:bodyPr>
          <a:lstStyle>
            <a:lvl1pPr>
              <a:lnSpc>
                <a:spcPct val="85000"/>
              </a:lnSpc>
              <a:defRPr sz="3200">
                <a:solidFill>
                  <a:schemeClr val="tx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23589" y="1514479"/>
            <a:ext cx="11218782" cy="446442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 name="Group 1">
            <a:extLst>
              <a:ext uri="{FF2B5EF4-FFF2-40B4-BE49-F238E27FC236}">
                <a16:creationId xmlns:a16="http://schemas.microsoft.com/office/drawing/2014/main" id="{193D21C9-65C8-0EDB-5A82-5AC63EEAC410}"/>
              </a:ext>
            </a:extLst>
          </p:cNvPr>
          <p:cNvGrpSpPr/>
          <p:nvPr userDrawn="1"/>
        </p:nvGrpSpPr>
        <p:grpSpPr>
          <a:xfrm>
            <a:off x="-6252" y="151"/>
            <a:ext cx="12198251" cy="1181100"/>
            <a:chOff x="0" y="0"/>
            <a:chExt cx="12188952" cy="1181100"/>
          </a:xfrm>
        </p:grpSpPr>
        <p:pic>
          <p:nvPicPr>
            <p:cNvPr id="4" name="Picture 15" descr="A close up of a brown surface&#10;&#10;Description automatically generated">
              <a:extLst>
                <a:ext uri="{FF2B5EF4-FFF2-40B4-BE49-F238E27FC236}">
                  <a16:creationId xmlns:a16="http://schemas.microsoft.com/office/drawing/2014/main" id="{79B9FD42-71FA-1939-0F06-7F2B2FA33F8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10274" t="4546" r="37305" b="26671"/>
            <a:stretch>
              <a:fillRect/>
            </a:stretch>
          </p:blipFill>
          <p:spPr bwMode="auto">
            <a:xfrm>
              <a:off x="9297988" y="0"/>
              <a:ext cx="2890837"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A picture containing text&#10;&#10;Description automatically generated">
              <a:extLst>
                <a:ext uri="{FF2B5EF4-FFF2-40B4-BE49-F238E27FC236}">
                  <a16:creationId xmlns:a16="http://schemas.microsoft.com/office/drawing/2014/main" id="{3E7900E8-BD19-BDFC-8C25-92EC3F2C030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3" descr="A brown triangle with a black background&#10;&#10;Description automatically generated">
              <a:extLst>
                <a:ext uri="{FF2B5EF4-FFF2-40B4-BE49-F238E27FC236}">
                  <a16:creationId xmlns:a16="http://schemas.microsoft.com/office/drawing/2014/main" id="{53392FDB-F35E-17B0-9F54-8DF6C591B57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l="16089" t="18593" r="-19820"/>
            <a:stretch>
              <a:fillRect/>
            </a:stretch>
          </p:blipFill>
          <p:spPr bwMode="auto">
            <a:xfrm>
              <a:off x="4445" y="3175"/>
              <a:ext cx="984250"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a:extLst>
                <a:ext uri="{FF2B5EF4-FFF2-40B4-BE49-F238E27FC236}">
                  <a16:creationId xmlns:a16="http://schemas.microsoft.com/office/drawing/2014/main" id="{578A3694-DDAF-B267-12D7-8A05B431157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40713" y="65088"/>
              <a:ext cx="1876425"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surface with a brown surface&#10;&#10;Description automatically generated with medium confidence">
              <a:extLst>
                <a:ext uri="{FF2B5EF4-FFF2-40B4-BE49-F238E27FC236}">
                  <a16:creationId xmlns:a16="http://schemas.microsoft.com/office/drawing/2014/main" id="{0A0F954D-4544-6E49-6D70-94740E3C9079}"/>
                </a:ext>
              </a:extLst>
            </p:cNvPr>
            <p:cNvPicPr preferRelativeResize="0">
              <a:picLocks/>
            </p:cNvPicPr>
            <p:nvPr userDrawn="1"/>
          </p:nvPicPr>
          <p:blipFill rotWithShape="1">
            <a:blip r:embed="rId9"/>
            <a:srcRect t="76875"/>
            <a:stretch/>
          </p:blipFill>
          <p:spPr>
            <a:xfrm>
              <a:off x="0" y="1135063"/>
              <a:ext cx="12188952" cy="46037"/>
            </a:xfrm>
            <a:prstGeom prst="rect">
              <a:avLst/>
            </a:prstGeom>
            <a:effectLst>
              <a:outerShdw blurRad="50800" dist="38100" dir="2700000" algn="tl" rotWithShape="0">
                <a:srgbClr val="F69163">
                  <a:alpha val="44000"/>
                </a:srgbClr>
              </a:outerShdw>
            </a:effectLst>
          </p:spPr>
        </p:pic>
      </p:gr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white head_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943A4F8-324D-62EA-D0D8-312153B6EBC5}"/>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87204" y="271012"/>
            <a:ext cx="8865017" cy="675389"/>
          </a:xfrm>
          <a:prstGeom prst="rect">
            <a:avLst/>
          </a:prstGeom>
        </p:spPr>
        <p:txBody>
          <a:bodyPr vert="horz">
            <a:noAutofit/>
          </a:bodyPr>
          <a:lstStyle>
            <a:lvl1pPr>
              <a:lnSpc>
                <a:spcPct val="85000"/>
              </a:lnSpc>
              <a:defRPr sz="3200">
                <a:solidFill>
                  <a:schemeClr val="tx1"/>
                </a:solidFill>
                <a:latin typeface="+mj-lt"/>
              </a:defRPr>
            </a:lvl1pPr>
          </a:lstStyle>
          <a:p>
            <a:r>
              <a:rPr lang="en-US" dirty="0"/>
              <a:t>Click to edit Master title style Arial Bold</a:t>
            </a:r>
          </a:p>
        </p:txBody>
      </p:sp>
      <p:grpSp>
        <p:nvGrpSpPr>
          <p:cNvPr id="2" name="Group 1">
            <a:extLst>
              <a:ext uri="{FF2B5EF4-FFF2-40B4-BE49-F238E27FC236}">
                <a16:creationId xmlns:a16="http://schemas.microsoft.com/office/drawing/2014/main" id="{193D21C9-65C8-0EDB-5A82-5AC63EEAC410}"/>
              </a:ext>
            </a:extLst>
          </p:cNvPr>
          <p:cNvGrpSpPr/>
          <p:nvPr userDrawn="1"/>
        </p:nvGrpSpPr>
        <p:grpSpPr>
          <a:xfrm>
            <a:off x="-6252" y="151"/>
            <a:ext cx="12198251" cy="1181100"/>
            <a:chOff x="0" y="0"/>
            <a:chExt cx="12188952" cy="1181100"/>
          </a:xfrm>
        </p:grpSpPr>
        <p:pic>
          <p:nvPicPr>
            <p:cNvPr id="4" name="Picture 15" descr="A close up of a brown surface&#10;&#10;Description automatically generated">
              <a:extLst>
                <a:ext uri="{FF2B5EF4-FFF2-40B4-BE49-F238E27FC236}">
                  <a16:creationId xmlns:a16="http://schemas.microsoft.com/office/drawing/2014/main" id="{79B9FD42-71FA-1939-0F06-7F2B2FA33F8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10274" t="4546" r="37305" b="26671"/>
            <a:stretch>
              <a:fillRect/>
            </a:stretch>
          </p:blipFill>
          <p:spPr bwMode="auto">
            <a:xfrm>
              <a:off x="9297988" y="0"/>
              <a:ext cx="2890837"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A picture containing text&#10;&#10;Description automatically generated">
              <a:extLst>
                <a:ext uri="{FF2B5EF4-FFF2-40B4-BE49-F238E27FC236}">
                  <a16:creationId xmlns:a16="http://schemas.microsoft.com/office/drawing/2014/main" id="{3E7900E8-BD19-BDFC-8C25-92EC3F2C030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3" descr="A brown triangle with a black background&#10;&#10;Description automatically generated">
              <a:extLst>
                <a:ext uri="{FF2B5EF4-FFF2-40B4-BE49-F238E27FC236}">
                  <a16:creationId xmlns:a16="http://schemas.microsoft.com/office/drawing/2014/main" id="{53392FDB-F35E-17B0-9F54-8DF6C591B57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l="16089" t="18593" r="-19820"/>
            <a:stretch>
              <a:fillRect/>
            </a:stretch>
          </p:blipFill>
          <p:spPr bwMode="auto">
            <a:xfrm>
              <a:off x="4445" y="3175"/>
              <a:ext cx="984250"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a:extLst>
                <a:ext uri="{FF2B5EF4-FFF2-40B4-BE49-F238E27FC236}">
                  <a16:creationId xmlns:a16="http://schemas.microsoft.com/office/drawing/2014/main" id="{578A3694-DDAF-B267-12D7-8A05B431157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40713" y="65088"/>
              <a:ext cx="1876425"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surface with a brown surface&#10;&#10;Description automatically generated with medium confidence">
              <a:extLst>
                <a:ext uri="{FF2B5EF4-FFF2-40B4-BE49-F238E27FC236}">
                  <a16:creationId xmlns:a16="http://schemas.microsoft.com/office/drawing/2014/main" id="{0A0F954D-4544-6E49-6D70-94740E3C9079}"/>
                </a:ext>
              </a:extLst>
            </p:cNvPr>
            <p:cNvPicPr preferRelativeResize="0">
              <a:picLocks/>
            </p:cNvPicPr>
            <p:nvPr userDrawn="1"/>
          </p:nvPicPr>
          <p:blipFill rotWithShape="1">
            <a:blip r:embed="rId9"/>
            <a:srcRect t="76875"/>
            <a:stretch/>
          </p:blipFill>
          <p:spPr>
            <a:xfrm>
              <a:off x="0" y="1135063"/>
              <a:ext cx="12188952" cy="46037"/>
            </a:xfrm>
            <a:prstGeom prst="rect">
              <a:avLst/>
            </a:prstGeom>
            <a:effectLst>
              <a:outerShdw blurRad="50800" dist="38100" dir="2700000" algn="tl" rotWithShape="0">
                <a:srgbClr val="F69163">
                  <a:alpha val="44000"/>
                </a:srgbClr>
              </a:outerShdw>
            </a:effectLst>
          </p:spPr>
        </p:pic>
      </p:grpSp>
    </p:spTree>
    <p:extLst>
      <p:ext uri="{BB962C8B-B14F-4D97-AF65-F5344CB8AC3E}">
        <p14:creationId xmlns:p14="http://schemas.microsoft.com/office/powerpoint/2010/main" val="3145020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Title and subtitle -bulle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043C15B-C4E7-4CB7-128D-0665A4F0CF18}"/>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EE2C42C6-2DD0-949E-D1C9-8CB1396CA075}"/>
              </a:ext>
            </a:extLst>
          </p:cNvPr>
          <p:cNvGrpSpPr/>
          <p:nvPr userDrawn="1"/>
        </p:nvGrpSpPr>
        <p:grpSpPr>
          <a:xfrm>
            <a:off x="-6252" y="151"/>
            <a:ext cx="12198251" cy="1181100"/>
            <a:chOff x="0" y="0"/>
            <a:chExt cx="12188952" cy="1181100"/>
          </a:xfrm>
        </p:grpSpPr>
        <p:pic>
          <p:nvPicPr>
            <p:cNvPr id="13" name="Picture 15" descr="A close up of a brown surface&#10;&#10;Description automatically generated">
              <a:extLst>
                <a:ext uri="{FF2B5EF4-FFF2-40B4-BE49-F238E27FC236}">
                  <a16:creationId xmlns:a16="http://schemas.microsoft.com/office/drawing/2014/main" id="{58BD7A05-BAFB-8044-0445-E5642237390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0274" t="4546" r="37305" b="26671"/>
            <a:stretch>
              <a:fillRect/>
            </a:stretch>
          </p:blipFill>
          <p:spPr bwMode="auto">
            <a:xfrm>
              <a:off x="9297988" y="0"/>
              <a:ext cx="2890837"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A picture containing text&#10;&#10;Description automatically generated">
              <a:extLst>
                <a:ext uri="{FF2B5EF4-FFF2-40B4-BE49-F238E27FC236}">
                  <a16:creationId xmlns:a16="http://schemas.microsoft.com/office/drawing/2014/main" id="{D73D086E-69BC-0746-9A2A-61D44AB763A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3" descr="A brown triangle with a black background&#10;&#10;Description automatically generated">
              <a:extLst>
                <a:ext uri="{FF2B5EF4-FFF2-40B4-BE49-F238E27FC236}">
                  <a16:creationId xmlns:a16="http://schemas.microsoft.com/office/drawing/2014/main" id="{2078CBEE-97E4-1FAA-16BB-899F8DB958D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16089" t="18593" r="-19820"/>
            <a:stretch>
              <a:fillRect/>
            </a:stretch>
          </p:blipFill>
          <p:spPr bwMode="auto">
            <a:xfrm>
              <a:off x="4445" y="3175"/>
              <a:ext cx="984250"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
              <a:extLst>
                <a:ext uri="{FF2B5EF4-FFF2-40B4-BE49-F238E27FC236}">
                  <a16:creationId xmlns:a16="http://schemas.microsoft.com/office/drawing/2014/main" id="{F0A8A535-35EC-56CC-C5E8-5220511D6B5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40713" y="65088"/>
              <a:ext cx="1876425"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descr="A white surface with a brown surface&#10;&#10;Description automatically generated with medium confidence">
              <a:extLst>
                <a:ext uri="{FF2B5EF4-FFF2-40B4-BE49-F238E27FC236}">
                  <a16:creationId xmlns:a16="http://schemas.microsoft.com/office/drawing/2014/main" id="{4EB8A0DD-26E3-51D1-E930-8135CC809E61}"/>
                </a:ext>
              </a:extLst>
            </p:cNvPr>
            <p:cNvPicPr preferRelativeResize="0">
              <a:picLocks/>
            </p:cNvPicPr>
            <p:nvPr userDrawn="1"/>
          </p:nvPicPr>
          <p:blipFill rotWithShape="1">
            <a:blip r:embed="rId7"/>
            <a:srcRect t="76875"/>
            <a:stretch/>
          </p:blipFill>
          <p:spPr>
            <a:xfrm>
              <a:off x="0" y="1135063"/>
              <a:ext cx="12188952" cy="46037"/>
            </a:xfrm>
            <a:prstGeom prst="rect">
              <a:avLst/>
            </a:prstGeom>
            <a:effectLst>
              <a:outerShdw blurRad="50800" dist="38100" dir="2700000" algn="tl" rotWithShape="0">
                <a:srgbClr val="F69163">
                  <a:alpha val="44000"/>
                </a:srgbClr>
              </a:outerShdw>
            </a:effectLst>
          </p:spPr>
        </p:pic>
      </p:gr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29241" y="373355"/>
            <a:ext cx="8677824" cy="392904"/>
          </a:xfrm>
          <a:prstGeom prst="rect">
            <a:avLst/>
          </a:prstGeom>
        </p:spPr>
        <p:txBody>
          <a:bodyPr vert="horz">
            <a:noAutofit/>
          </a:bodyPr>
          <a:lstStyle>
            <a:lvl1pPr>
              <a:lnSpc>
                <a:spcPct val="85000"/>
              </a:lnSpc>
              <a:defRPr sz="2800">
                <a:solidFill>
                  <a:schemeClr val="tx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29241"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ubtitle 2">
            <a:extLst>
              <a:ext uri="{FF2B5EF4-FFF2-40B4-BE49-F238E27FC236}">
                <a16:creationId xmlns:a16="http://schemas.microsoft.com/office/drawing/2014/main" id="{5A236EC8-4CCB-F3A2-8D2E-C104B12B27FA}"/>
              </a:ext>
            </a:extLst>
          </p:cNvPr>
          <p:cNvSpPr>
            <a:spLocks noGrp="1"/>
          </p:cNvSpPr>
          <p:nvPr>
            <p:ph type="subTitle" idx="13"/>
          </p:nvPr>
        </p:nvSpPr>
        <p:spPr>
          <a:xfrm>
            <a:off x="529241" y="766259"/>
            <a:ext cx="8667316"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2927638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5.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6" name="Picture 35" descr="A close-up of a metal surface&#10;&#10;Description automatically generated">
            <a:extLst>
              <a:ext uri="{FF2B5EF4-FFF2-40B4-BE49-F238E27FC236}">
                <a16:creationId xmlns:a16="http://schemas.microsoft.com/office/drawing/2014/main" id="{F4540544-B2EC-682E-70CB-ED2841E3EC0E}"/>
              </a:ext>
            </a:extLst>
          </p:cNvPr>
          <p:cNvPicPr>
            <a:picLocks noChangeAspect="1" noChangeArrowheads="1"/>
          </p:cNvPicPr>
          <p:nvPr userDrawn="1"/>
        </p:nvPicPr>
        <p:blipFill rotWithShape="1">
          <a:blip r:embed="rId20"/>
          <a:srcRect l="-1870" t="33636" r="42549" b="58009"/>
          <a:stretch/>
        </p:blipFill>
        <p:spPr bwMode="auto">
          <a:xfrm>
            <a:off x="0" y="0"/>
            <a:ext cx="12212638" cy="1165225"/>
          </a:xfrm>
          <a:prstGeom prst="rect">
            <a:avLst/>
          </a:prstGeom>
          <a:solidFill>
            <a:srgbClr val="705949"/>
          </a:solidFill>
          <a:ln>
            <a:noFill/>
          </a:ln>
          <a:effectLst>
            <a:outerShdw blurRad="50800" dist="38100" dir="2700000" algn="tl" rotWithShape="0">
              <a:prstClr val="black">
                <a:alpha val="40000"/>
              </a:prstClr>
            </a:outerShdw>
          </a:effectLst>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9"/>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523589" y="6493998"/>
            <a:ext cx="3002395"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523589" y="270861"/>
            <a:ext cx="8691531"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523589" y="1514479"/>
            <a:ext cx="10774795" cy="4662484"/>
          </a:xfrm>
          <a:prstGeom prst="rect">
            <a:avLst/>
          </a:prstGeom>
          <a:ln>
            <a:noFill/>
          </a:ln>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a:extLst>
              <a:ext uri="{FF2B5EF4-FFF2-40B4-BE49-F238E27FC236}">
                <a16:creationId xmlns:a16="http://schemas.microsoft.com/office/drawing/2014/main" id="{E01FB32A-195F-447B-93AB-5EBC804B0022}"/>
              </a:ext>
            </a:extLst>
          </p:cNvPr>
          <p:cNvSpPr txBox="1">
            <a:spLocks/>
          </p:cNvSpPr>
          <p:nvPr userDrawn="1"/>
        </p:nvSpPr>
        <p:spPr>
          <a:xfrm>
            <a:off x="11837715" y="6591102"/>
            <a:ext cx="372391" cy="268022"/>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545FE2-DEF4-4BC2-9058-BF1DA4AEB4E3}" type="slidenum">
              <a:rPr lang="en-US" smtClean="0">
                <a:solidFill>
                  <a:schemeClr val="tx1"/>
                </a:solidFill>
              </a:rPr>
              <a:pPr algn="r"/>
              <a:t>‹Nº›</a:t>
            </a:fld>
            <a:endParaRPr lang="en-US" dirty="0">
              <a:solidFill>
                <a:schemeClr val="tx1"/>
              </a:solidFill>
            </a:endParaRPr>
          </a:p>
        </p:txBody>
      </p:sp>
      <p:pic>
        <p:nvPicPr>
          <p:cNvPr id="27" name="Picture 7" descr="A picture containing text&#10;&#10;Description automatically generated">
            <a:extLst>
              <a:ext uri="{FF2B5EF4-FFF2-40B4-BE49-F238E27FC236}">
                <a16:creationId xmlns:a16="http://schemas.microsoft.com/office/drawing/2014/main" id="{736B7674-75E0-A7A2-8762-2F15245D62B6}"/>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a:extLst>
              <a:ext uri="{FF2B5EF4-FFF2-40B4-BE49-F238E27FC236}">
                <a16:creationId xmlns:a16="http://schemas.microsoft.com/office/drawing/2014/main" id="{E8366DFF-EFC5-93F1-488F-F1F17F7ADCE2}"/>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descr="A white surface with a brown surface&#10;&#10;Description automatically generated with medium confidence">
            <a:extLst>
              <a:ext uri="{FF2B5EF4-FFF2-40B4-BE49-F238E27FC236}">
                <a16:creationId xmlns:a16="http://schemas.microsoft.com/office/drawing/2014/main" id="{C2AA732A-0401-177F-646E-7A12D6CF0E51}"/>
              </a:ext>
            </a:extLst>
          </p:cNvPr>
          <p:cNvPicPr>
            <a:picLocks noChangeAspect="1"/>
          </p:cNvPicPr>
          <p:nvPr userDrawn="1"/>
        </p:nvPicPr>
        <p:blipFill rotWithShape="1">
          <a:blip r:embed="rId25"/>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4" r:id="rId1"/>
    <p:sldLayoutId id="2147483751" r:id="rId2"/>
    <p:sldLayoutId id="2147483706" r:id="rId3"/>
    <p:sldLayoutId id="2147483757" r:id="rId4"/>
    <p:sldLayoutId id="2147483762" r:id="rId5"/>
    <p:sldLayoutId id="2147483756" r:id="rId6"/>
    <p:sldLayoutId id="2147483707" r:id="rId7"/>
    <p:sldLayoutId id="2147483763" r:id="rId8"/>
    <p:sldLayoutId id="2147483758" r:id="rId9"/>
    <p:sldLayoutId id="2147483741" r:id="rId10"/>
    <p:sldLayoutId id="2147483759" r:id="rId11"/>
    <p:sldLayoutId id="2147483725" r:id="rId12"/>
    <p:sldLayoutId id="2147483761" r:id="rId13"/>
    <p:sldLayoutId id="2147483709" r:id="rId14"/>
    <p:sldLayoutId id="2147483760" r:id="rId15"/>
    <p:sldLayoutId id="2147483732" r:id="rId16"/>
    <p:sldLayoutId id="2147483769" r:id="rId17"/>
  </p:sldLayoutIdLst>
  <p:hf hdr="0" ftr="0" dt="0"/>
  <p:txStyles>
    <p:titleStyle>
      <a:lvl1pPr algn="l" defTabSz="914400" rtl="0" eaLnBrk="1" latinLnBrk="0" hangingPunct="1">
        <a:lnSpc>
          <a:spcPct val="85000"/>
        </a:lnSpc>
        <a:spcBef>
          <a:spcPct val="0"/>
        </a:spcBef>
        <a:buNone/>
        <a:defRPr sz="3200" b="1" i="0" kern="1200">
          <a:solidFill>
            <a:schemeClr val="bg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BB5D00"/>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SzPct val="80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27113" indent="-338138" algn="l" defTabSz="914400" rtl="0" eaLnBrk="1" latinLnBrk="0" hangingPunct="1">
        <a:lnSpc>
          <a:spcPct val="90000"/>
        </a:lnSpc>
        <a:spcBef>
          <a:spcPts val="500"/>
        </a:spcBef>
        <a:buClr>
          <a:srgbClr val="BB5D00"/>
        </a:buClr>
        <a:buSzPct val="90000"/>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54125" indent="-339725" algn="l" defTabSz="914400" rtl="0" eaLnBrk="1" latinLnBrk="0" hangingPunct="1">
        <a:lnSpc>
          <a:spcPct val="90000"/>
        </a:lnSpc>
        <a:spcBef>
          <a:spcPts val="500"/>
        </a:spcBef>
        <a:buClr>
          <a:srgbClr val="BB5D00"/>
        </a:buClr>
        <a:buFont typeface="Arial" panose="020B0604020202020204" pitchFamily="34" charset="0"/>
        <a:buChar char="–"/>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27.xml"/><Relationship Id="rId3" Type="http://schemas.openxmlformats.org/officeDocument/2006/relationships/slide" Target="slide4.xml"/><Relationship Id="rId7" Type="http://schemas.openxmlformats.org/officeDocument/2006/relationships/slide" Target="slide12.xml"/><Relationship Id="rId12" Type="http://schemas.openxmlformats.org/officeDocument/2006/relationships/slide" Target="slide25.xml"/><Relationship Id="rId2" Type="http://schemas.openxmlformats.org/officeDocument/2006/relationships/slide" Target="slide3.xml"/><Relationship Id="rId1" Type="http://schemas.openxmlformats.org/officeDocument/2006/relationships/slideLayout" Target="../slideLayouts/slideLayout5.xml"/><Relationship Id="rId6" Type="http://schemas.openxmlformats.org/officeDocument/2006/relationships/slide" Target="slide10.xml"/><Relationship Id="rId11" Type="http://schemas.openxmlformats.org/officeDocument/2006/relationships/slide" Target="slide22.xml"/><Relationship Id="rId5" Type="http://schemas.openxmlformats.org/officeDocument/2006/relationships/slide" Target="slide8.xml"/><Relationship Id="rId10" Type="http://schemas.openxmlformats.org/officeDocument/2006/relationships/slide" Target="slide20.xml"/><Relationship Id="rId4" Type="http://schemas.openxmlformats.org/officeDocument/2006/relationships/slide" Target="slide6.xml"/><Relationship Id="rId9" Type="http://schemas.openxmlformats.org/officeDocument/2006/relationships/slide" Target="slide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s://publicportal.fmi.com/CerroVerdeStandards"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37.png"/><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s://publicportal.fmi.com/sites/publicportal/files/Charlas%20de%20Reforzamiento%202025.pdf" TargetMode="External"/><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microsoft.com/office/2007/relationships/hdphoto" Target="../media/hdphoto2.wdp"/><Relationship Id="rId5" Type="http://schemas.openxmlformats.org/officeDocument/2006/relationships/image" Target="../media/image25.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fcx365.sharepoint.com/:b:/r/Sites/CVE-SyS/Sistema%20de%20Gestin%20de%20Seguridad%20y%20Salud%20Ocupacional/Politica%20Corporativa%20de%20Salud%20y%20Seguridad_Espa%C3%B1ol.pdf?csf=1&amp;web=1&amp;e=TgmXwy" TargetMode="External"/><Relationship Id="rId1" Type="http://schemas.openxmlformats.org/officeDocument/2006/relationships/slideLayout" Target="../slideLayouts/slideLayout5.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461139" y="2479675"/>
            <a:ext cx="6502369" cy="2024592"/>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endParaRPr lang="en-US" altLang="en-US" sz="2800" dirty="0">
              <a:solidFill>
                <a:schemeClr val="bg1"/>
              </a:solidFill>
              <a:latin typeface="Abadi" panose="020B0604020104020204" pitchFamily="34" charset="0"/>
            </a:endParaRPr>
          </a:p>
          <a:p>
            <a:r>
              <a:rPr lang="en-US" altLang="en-US" sz="2800" dirty="0">
                <a:solidFill>
                  <a:schemeClr val="bg1"/>
                </a:solidFill>
                <a:latin typeface="Abadi" panose="020B0604020104020204" pitchFamily="34" charset="0"/>
              </a:rPr>
              <a:t>AUDITORIA EXTERNA DE CUMPLIMIENTO LEGAL - SGSSO</a:t>
            </a:r>
          </a:p>
          <a:p>
            <a:endParaRPr lang="en-US" altLang="en-US" sz="2800" dirty="0">
              <a:solidFill>
                <a:schemeClr val="bg1"/>
              </a:solidFill>
              <a:latin typeface="Abadi" panose="020B0604020104020204" pitchFamily="34" charset="0"/>
            </a:endParaRPr>
          </a:p>
          <a:p>
            <a:r>
              <a:rPr lang="en-US" altLang="en-US" sz="2800" dirty="0">
                <a:solidFill>
                  <a:schemeClr val="bg1"/>
                </a:solidFill>
                <a:latin typeface="Abadi" panose="020B0604020104020204" pitchFamily="34" charset="0"/>
              </a:rPr>
              <a:t>MATERIAL DE REFORZAMIENTO EECC</a:t>
            </a:r>
          </a:p>
          <a:p>
            <a:endParaRPr lang="en-US" altLang="en-US" sz="2800" dirty="0">
              <a:solidFill>
                <a:schemeClr val="bg1"/>
              </a:solidFill>
              <a:latin typeface="Abadi" panose="020B0604020104020204" pitchFamily="34" charset="0"/>
            </a:endParaRPr>
          </a:p>
        </p:txBody>
      </p:sp>
      <p:sp>
        <p:nvSpPr>
          <p:cNvPr id="4" name="Subtitle 2">
            <a:extLst>
              <a:ext uri="{FF2B5EF4-FFF2-40B4-BE49-F238E27FC236}">
                <a16:creationId xmlns:a16="http://schemas.microsoft.com/office/drawing/2014/main" id="{19A7A5CC-C7F1-1A88-CF54-31D5B8150FAD}"/>
              </a:ext>
            </a:extLst>
          </p:cNvPr>
          <p:cNvSpPr txBox="1">
            <a:spLocks noChangeArrowheads="1"/>
          </p:cNvSpPr>
          <p:nvPr/>
        </p:nvSpPr>
        <p:spPr bwMode="auto">
          <a:xfrm>
            <a:off x="595312" y="4777669"/>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BB5D00"/>
              </a:buClr>
              <a:buSzPct val="11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a:lnSpc>
                <a:spcPct val="90000"/>
              </a:lnSpc>
              <a:spcBef>
                <a:spcPts val="500"/>
              </a:spcBef>
              <a:buClr>
                <a:srgbClr val="DF572A"/>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a:lnSpc>
                <a:spcPct val="90000"/>
              </a:lnSpc>
              <a:spcBef>
                <a:spcPts val="500"/>
              </a:spcBef>
              <a:buClr>
                <a:srgbClr val="DF572A"/>
              </a:buClr>
              <a:buSzPct val="800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a:lnSpc>
                <a:spcPct val="90000"/>
              </a:lnSpc>
              <a:spcBef>
                <a:spcPts val="500"/>
              </a:spcBef>
              <a:buClr>
                <a:srgbClr val="DF572A"/>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a:lnSpc>
                <a:spcPct val="90000"/>
              </a:lnSpc>
              <a:spcBef>
                <a:spcPts val="500"/>
              </a:spcBef>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5pPr>
            <a:lvl6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6pPr>
            <a:lvl7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7pPr>
            <a:lvl8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8pPr>
            <a:lvl9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r>
              <a:rPr lang="en-US" altLang="en-US" sz="1800" dirty="0">
                <a:solidFill>
                  <a:schemeClr val="bg1"/>
                </a:solidFill>
                <a:latin typeface="Abadi" panose="020B0604020104020204" pitchFamily="34" charset="0"/>
              </a:rPr>
              <a:t>Marzo 2025</a:t>
            </a:r>
          </a:p>
        </p:txBody>
      </p:sp>
    </p:spTree>
    <p:extLst>
      <p:ext uri="{BB962C8B-B14F-4D97-AF65-F5344CB8AC3E}">
        <p14:creationId xmlns:p14="http://schemas.microsoft.com/office/powerpoint/2010/main" val="19116344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3362508"/>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latin typeface="Abadi" panose="020B0604020104020204" pitchFamily="34" charset="0"/>
              </a:rPr>
              <a:t>Planificación de Actividades SSO:</a:t>
            </a:r>
          </a:p>
          <a:p>
            <a:endParaRPr lang="es-PE" altLang="en-US" sz="2800" dirty="0">
              <a:solidFill>
                <a:schemeClr val="bg1"/>
              </a:solidFill>
              <a:latin typeface="Abadi" panose="020B0604020104020204" pitchFamily="34" charset="0"/>
            </a:endParaRPr>
          </a:p>
          <a:p>
            <a:r>
              <a:rPr lang="es-PE" altLang="en-US" sz="2800" dirty="0">
                <a:solidFill>
                  <a:schemeClr val="bg1"/>
                </a:solidFill>
                <a:latin typeface="Abadi" panose="020B0604020104020204" pitchFamily="34" charset="0"/>
              </a:rPr>
              <a:t> Programa Anual de Salud y Seguridad Ocupacional – PASSO </a:t>
            </a:r>
            <a:endParaRPr lang="en-US" altLang="en-US" sz="2800" dirty="0">
              <a:solidFill>
                <a:schemeClr val="bg1"/>
              </a:solidFill>
              <a:latin typeface="Abadi" panose="020B0604020104020204" pitchFamily="34" charset="0"/>
            </a:endParaRPr>
          </a:p>
        </p:txBody>
      </p:sp>
    </p:spTree>
    <p:extLst>
      <p:ext uri="{BB962C8B-B14F-4D97-AF65-F5344CB8AC3E}">
        <p14:creationId xmlns:p14="http://schemas.microsoft.com/office/powerpoint/2010/main" val="1508971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63676-67E8-0FFD-C98D-B27C6120F3B6}"/>
              </a:ext>
            </a:extLst>
          </p:cNvPr>
          <p:cNvSpPr>
            <a:spLocks noGrp="1"/>
          </p:cNvSpPr>
          <p:nvPr>
            <p:ph type="title"/>
          </p:nvPr>
        </p:nvSpPr>
        <p:spPr/>
        <p:txBody>
          <a:bodyPr/>
          <a:lstStyle/>
          <a:p>
            <a:r>
              <a:rPr lang="es-PE" altLang="en-US" sz="3200" dirty="0">
                <a:solidFill>
                  <a:schemeClr val="bg1"/>
                </a:solidFill>
                <a:latin typeface="Abadi" panose="020B0604020104020204" pitchFamily="34" charset="0"/>
              </a:rPr>
              <a:t>Programa Anual de Salud y Seguridad Ocupacional – PASSO </a:t>
            </a:r>
            <a:endParaRPr lang="en-US" dirty="0"/>
          </a:p>
        </p:txBody>
      </p:sp>
      <p:sp>
        <p:nvSpPr>
          <p:cNvPr id="9" name="Freeform 6">
            <a:extLst>
              <a:ext uri="{FF2B5EF4-FFF2-40B4-BE49-F238E27FC236}">
                <a16:creationId xmlns:a16="http://schemas.microsoft.com/office/drawing/2014/main" id="{D0285C15-B11D-0328-8530-18C7F94F9A17}"/>
              </a:ext>
            </a:extLst>
          </p:cNvPr>
          <p:cNvSpPr>
            <a:spLocks noChangeArrowheads="1"/>
          </p:cNvSpPr>
          <p:nvPr/>
        </p:nvSpPr>
        <p:spPr bwMode="auto">
          <a:xfrm>
            <a:off x="554304" y="1666543"/>
            <a:ext cx="3492692" cy="4496177"/>
          </a:xfrm>
          <a:custGeom>
            <a:avLst/>
            <a:gdLst>
              <a:gd name="T0" fmla="*/ 5312 w 5313"/>
              <a:gd name="T1" fmla="*/ 13783 h 13784"/>
              <a:gd name="T2" fmla="*/ 0 w 5313"/>
              <a:gd name="T3" fmla="*/ 13783 h 13784"/>
              <a:gd name="T4" fmla="*/ 0 w 5313"/>
              <a:gd name="T5" fmla="*/ 0 h 13784"/>
              <a:gd name="T6" fmla="*/ 5312 w 5313"/>
              <a:gd name="T7" fmla="*/ 0 h 13784"/>
              <a:gd name="T8" fmla="*/ 5312 w 5313"/>
              <a:gd name="T9" fmla="*/ 13783 h 13784"/>
            </a:gdLst>
            <a:ahLst/>
            <a:cxnLst>
              <a:cxn ang="0">
                <a:pos x="T0" y="T1"/>
              </a:cxn>
              <a:cxn ang="0">
                <a:pos x="T2" y="T3"/>
              </a:cxn>
              <a:cxn ang="0">
                <a:pos x="T4" y="T5"/>
              </a:cxn>
              <a:cxn ang="0">
                <a:pos x="T6" y="T7"/>
              </a:cxn>
              <a:cxn ang="0">
                <a:pos x="T8" y="T9"/>
              </a:cxn>
            </a:cxnLst>
            <a:rect l="0" t="0" r="r" b="b"/>
            <a:pathLst>
              <a:path w="5313" h="13784">
                <a:moveTo>
                  <a:pt x="5312" y="13783"/>
                </a:moveTo>
                <a:lnTo>
                  <a:pt x="0" y="13783"/>
                </a:lnTo>
                <a:lnTo>
                  <a:pt x="0" y="0"/>
                </a:lnTo>
                <a:lnTo>
                  <a:pt x="5312" y="0"/>
                </a:lnTo>
                <a:lnTo>
                  <a:pt x="5312" y="13783"/>
                </a:lnTo>
              </a:path>
            </a:pathLst>
          </a:custGeom>
          <a:solidFill>
            <a:schemeClr val="accent2">
              <a:lumMod val="60000"/>
              <a:lumOff val="40000"/>
            </a:schemeClr>
          </a:solidFill>
          <a:ln>
            <a:noFill/>
          </a:ln>
          <a:effectLst/>
        </p:spPr>
        <p:txBody>
          <a:bodyPr wrap="none" anchor="ctr"/>
          <a:lstStyle/>
          <a:p>
            <a:endParaRPr lang="en-US" sz="3200"/>
          </a:p>
        </p:txBody>
      </p:sp>
      <p:sp>
        <p:nvSpPr>
          <p:cNvPr id="10" name="Freeform 7">
            <a:extLst>
              <a:ext uri="{FF2B5EF4-FFF2-40B4-BE49-F238E27FC236}">
                <a16:creationId xmlns:a16="http://schemas.microsoft.com/office/drawing/2014/main" id="{E9D3EABA-1B72-96AA-A95F-3CF06E0E9984}"/>
              </a:ext>
            </a:extLst>
          </p:cNvPr>
          <p:cNvSpPr>
            <a:spLocks noChangeArrowheads="1"/>
          </p:cNvSpPr>
          <p:nvPr/>
        </p:nvSpPr>
        <p:spPr bwMode="auto">
          <a:xfrm>
            <a:off x="782707" y="1677632"/>
            <a:ext cx="2367633" cy="1151007"/>
          </a:xfrm>
          <a:custGeom>
            <a:avLst/>
            <a:gdLst>
              <a:gd name="T0" fmla="*/ 0 w 5313"/>
              <a:gd name="T1" fmla="*/ 2398 h 3160"/>
              <a:gd name="T2" fmla="*/ 5312 w 5313"/>
              <a:gd name="T3" fmla="*/ 3159 h 3160"/>
              <a:gd name="T4" fmla="*/ 5312 w 5313"/>
              <a:gd name="T5" fmla="*/ 0 h 3160"/>
              <a:gd name="T6" fmla="*/ 4433 w 5313"/>
              <a:gd name="T7" fmla="*/ 0 h 3160"/>
              <a:gd name="T8" fmla="*/ 0 w 5313"/>
              <a:gd name="T9" fmla="*/ 2398 h 3160"/>
            </a:gdLst>
            <a:ahLst/>
            <a:cxnLst>
              <a:cxn ang="0">
                <a:pos x="T0" y="T1"/>
              </a:cxn>
              <a:cxn ang="0">
                <a:pos x="T2" y="T3"/>
              </a:cxn>
              <a:cxn ang="0">
                <a:pos x="T4" y="T5"/>
              </a:cxn>
              <a:cxn ang="0">
                <a:pos x="T6" y="T7"/>
              </a:cxn>
              <a:cxn ang="0">
                <a:pos x="T8" y="T9"/>
              </a:cxn>
            </a:cxnLst>
            <a:rect l="0" t="0" r="r" b="b"/>
            <a:pathLst>
              <a:path w="5313" h="3160">
                <a:moveTo>
                  <a:pt x="0" y="2398"/>
                </a:moveTo>
                <a:lnTo>
                  <a:pt x="5312" y="3159"/>
                </a:lnTo>
                <a:lnTo>
                  <a:pt x="5312" y="0"/>
                </a:lnTo>
                <a:lnTo>
                  <a:pt x="4433" y="0"/>
                </a:lnTo>
                <a:lnTo>
                  <a:pt x="0" y="2398"/>
                </a:lnTo>
              </a:path>
            </a:pathLst>
          </a:custGeom>
          <a:solidFill>
            <a:schemeClr val="accent2">
              <a:lumMod val="75000"/>
            </a:schemeClr>
          </a:solidFill>
          <a:ln>
            <a:noFill/>
          </a:ln>
          <a:effectLst/>
        </p:spPr>
        <p:txBody>
          <a:bodyPr wrap="none" anchor="ctr"/>
          <a:lstStyle/>
          <a:p>
            <a:endParaRPr lang="en-US" sz="3200"/>
          </a:p>
        </p:txBody>
      </p:sp>
      <p:sp>
        <p:nvSpPr>
          <p:cNvPr id="11" name="Freeform 8">
            <a:extLst>
              <a:ext uri="{FF2B5EF4-FFF2-40B4-BE49-F238E27FC236}">
                <a16:creationId xmlns:a16="http://schemas.microsoft.com/office/drawing/2014/main" id="{DE87869E-F5FB-5808-60E7-27C4B56AD40D}"/>
              </a:ext>
            </a:extLst>
          </p:cNvPr>
          <p:cNvSpPr>
            <a:spLocks noChangeArrowheads="1"/>
          </p:cNvSpPr>
          <p:nvPr/>
        </p:nvSpPr>
        <p:spPr bwMode="auto">
          <a:xfrm>
            <a:off x="529241" y="1499443"/>
            <a:ext cx="2271357" cy="1053082"/>
          </a:xfrm>
          <a:custGeom>
            <a:avLst/>
            <a:gdLst>
              <a:gd name="T0" fmla="*/ 5097 w 5098"/>
              <a:gd name="T1" fmla="*/ 2890 h 2891"/>
              <a:gd name="T2" fmla="*/ 0 w 5098"/>
              <a:gd name="T3" fmla="*/ 2890 h 2891"/>
              <a:gd name="T4" fmla="*/ 0 w 5098"/>
              <a:gd name="T5" fmla="*/ 0 h 2891"/>
              <a:gd name="T6" fmla="*/ 5097 w 5098"/>
              <a:gd name="T7" fmla="*/ 0 h 2891"/>
              <a:gd name="T8" fmla="*/ 5097 w 5098"/>
              <a:gd name="T9" fmla="*/ 2890 h 2891"/>
            </a:gdLst>
            <a:ahLst/>
            <a:cxnLst>
              <a:cxn ang="0">
                <a:pos x="T0" y="T1"/>
              </a:cxn>
              <a:cxn ang="0">
                <a:pos x="T2" y="T3"/>
              </a:cxn>
              <a:cxn ang="0">
                <a:pos x="T4" y="T5"/>
              </a:cxn>
              <a:cxn ang="0">
                <a:pos x="T6" y="T7"/>
              </a:cxn>
              <a:cxn ang="0">
                <a:pos x="T8" y="T9"/>
              </a:cxn>
            </a:cxnLst>
            <a:rect l="0" t="0" r="r" b="b"/>
            <a:pathLst>
              <a:path w="5098" h="2891">
                <a:moveTo>
                  <a:pt x="5097" y="2890"/>
                </a:moveTo>
                <a:lnTo>
                  <a:pt x="0" y="2890"/>
                </a:lnTo>
                <a:lnTo>
                  <a:pt x="0" y="0"/>
                </a:lnTo>
                <a:lnTo>
                  <a:pt x="5097" y="0"/>
                </a:lnTo>
                <a:lnTo>
                  <a:pt x="5097" y="2890"/>
                </a:lnTo>
              </a:path>
            </a:pathLst>
          </a:custGeom>
          <a:solidFill>
            <a:schemeClr val="accent2"/>
          </a:solidFill>
          <a:ln>
            <a:noFill/>
          </a:ln>
          <a:effectLst/>
        </p:spPr>
        <p:txBody>
          <a:bodyPr wrap="none" anchor="ctr"/>
          <a:lstStyle/>
          <a:p>
            <a:endParaRPr lang="en-US" sz="3200"/>
          </a:p>
        </p:txBody>
      </p:sp>
      <p:sp>
        <p:nvSpPr>
          <p:cNvPr id="14" name="Freeform 11">
            <a:extLst>
              <a:ext uri="{FF2B5EF4-FFF2-40B4-BE49-F238E27FC236}">
                <a16:creationId xmlns:a16="http://schemas.microsoft.com/office/drawing/2014/main" id="{3F8CADE9-1062-0842-770A-F9703DF619FF}"/>
              </a:ext>
            </a:extLst>
          </p:cNvPr>
          <p:cNvSpPr>
            <a:spLocks noChangeArrowheads="1"/>
          </p:cNvSpPr>
          <p:nvPr/>
        </p:nvSpPr>
        <p:spPr bwMode="auto">
          <a:xfrm>
            <a:off x="4418188" y="1703115"/>
            <a:ext cx="2673818" cy="4496177"/>
          </a:xfrm>
          <a:custGeom>
            <a:avLst/>
            <a:gdLst>
              <a:gd name="T0" fmla="*/ 5314 w 5315"/>
              <a:gd name="T1" fmla="*/ 13783 h 13784"/>
              <a:gd name="T2" fmla="*/ 0 w 5315"/>
              <a:gd name="T3" fmla="*/ 13783 h 13784"/>
              <a:gd name="T4" fmla="*/ 0 w 5315"/>
              <a:gd name="T5" fmla="*/ 0 h 13784"/>
              <a:gd name="T6" fmla="*/ 5314 w 5315"/>
              <a:gd name="T7" fmla="*/ 0 h 13784"/>
              <a:gd name="T8" fmla="*/ 5314 w 5315"/>
              <a:gd name="T9" fmla="*/ 13783 h 13784"/>
            </a:gdLst>
            <a:ahLst/>
            <a:cxnLst>
              <a:cxn ang="0">
                <a:pos x="T0" y="T1"/>
              </a:cxn>
              <a:cxn ang="0">
                <a:pos x="T2" y="T3"/>
              </a:cxn>
              <a:cxn ang="0">
                <a:pos x="T4" y="T5"/>
              </a:cxn>
              <a:cxn ang="0">
                <a:pos x="T6" y="T7"/>
              </a:cxn>
              <a:cxn ang="0">
                <a:pos x="T8" y="T9"/>
              </a:cxn>
            </a:cxnLst>
            <a:rect l="0" t="0" r="r" b="b"/>
            <a:pathLst>
              <a:path w="5315" h="13784">
                <a:moveTo>
                  <a:pt x="5314" y="13783"/>
                </a:moveTo>
                <a:lnTo>
                  <a:pt x="0" y="13783"/>
                </a:lnTo>
                <a:lnTo>
                  <a:pt x="0" y="0"/>
                </a:lnTo>
                <a:lnTo>
                  <a:pt x="5314" y="0"/>
                </a:lnTo>
                <a:lnTo>
                  <a:pt x="5314" y="13783"/>
                </a:lnTo>
              </a:path>
            </a:pathLst>
          </a:custGeom>
          <a:solidFill>
            <a:schemeClr val="accent3"/>
          </a:solidFill>
          <a:ln>
            <a:noFill/>
          </a:ln>
          <a:effectLst/>
        </p:spPr>
        <p:txBody>
          <a:bodyPr wrap="none" anchor="ctr"/>
          <a:lstStyle/>
          <a:p>
            <a:endParaRPr lang="en-US" sz="3200"/>
          </a:p>
        </p:txBody>
      </p:sp>
      <p:sp>
        <p:nvSpPr>
          <p:cNvPr id="15" name="Freeform 12">
            <a:extLst>
              <a:ext uri="{FF2B5EF4-FFF2-40B4-BE49-F238E27FC236}">
                <a16:creationId xmlns:a16="http://schemas.microsoft.com/office/drawing/2014/main" id="{33CCECC0-A548-33FB-F063-AD44D59EAB3E}"/>
              </a:ext>
            </a:extLst>
          </p:cNvPr>
          <p:cNvSpPr>
            <a:spLocks noChangeArrowheads="1"/>
          </p:cNvSpPr>
          <p:nvPr/>
        </p:nvSpPr>
        <p:spPr bwMode="auto">
          <a:xfrm>
            <a:off x="4431248" y="1699737"/>
            <a:ext cx="2367633" cy="1151007"/>
          </a:xfrm>
          <a:custGeom>
            <a:avLst/>
            <a:gdLst>
              <a:gd name="T0" fmla="*/ 0 w 5315"/>
              <a:gd name="T1" fmla="*/ 2398 h 3160"/>
              <a:gd name="T2" fmla="*/ 5314 w 5315"/>
              <a:gd name="T3" fmla="*/ 3159 h 3160"/>
              <a:gd name="T4" fmla="*/ 5314 w 5315"/>
              <a:gd name="T5" fmla="*/ 0 h 3160"/>
              <a:gd name="T6" fmla="*/ 4435 w 5315"/>
              <a:gd name="T7" fmla="*/ 0 h 3160"/>
              <a:gd name="T8" fmla="*/ 0 w 5315"/>
              <a:gd name="T9" fmla="*/ 2398 h 3160"/>
            </a:gdLst>
            <a:ahLst/>
            <a:cxnLst>
              <a:cxn ang="0">
                <a:pos x="T0" y="T1"/>
              </a:cxn>
              <a:cxn ang="0">
                <a:pos x="T2" y="T3"/>
              </a:cxn>
              <a:cxn ang="0">
                <a:pos x="T4" y="T5"/>
              </a:cxn>
              <a:cxn ang="0">
                <a:pos x="T6" y="T7"/>
              </a:cxn>
              <a:cxn ang="0">
                <a:pos x="T8" y="T9"/>
              </a:cxn>
            </a:cxnLst>
            <a:rect l="0" t="0" r="r" b="b"/>
            <a:pathLst>
              <a:path w="5315" h="3160">
                <a:moveTo>
                  <a:pt x="0" y="2398"/>
                </a:moveTo>
                <a:lnTo>
                  <a:pt x="5314" y="3159"/>
                </a:lnTo>
                <a:lnTo>
                  <a:pt x="5314" y="0"/>
                </a:lnTo>
                <a:lnTo>
                  <a:pt x="4435" y="0"/>
                </a:lnTo>
                <a:lnTo>
                  <a:pt x="0" y="2398"/>
                </a:lnTo>
              </a:path>
            </a:pathLst>
          </a:custGeom>
          <a:solidFill>
            <a:schemeClr val="accent3">
              <a:lumMod val="75000"/>
            </a:schemeClr>
          </a:solidFill>
          <a:ln>
            <a:noFill/>
          </a:ln>
          <a:effectLst/>
        </p:spPr>
        <p:txBody>
          <a:bodyPr wrap="none" anchor="ctr"/>
          <a:lstStyle/>
          <a:p>
            <a:endParaRPr lang="en-US" sz="3200"/>
          </a:p>
        </p:txBody>
      </p:sp>
      <p:sp>
        <p:nvSpPr>
          <p:cNvPr id="16" name="Freeform 13">
            <a:extLst>
              <a:ext uri="{FF2B5EF4-FFF2-40B4-BE49-F238E27FC236}">
                <a16:creationId xmlns:a16="http://schemas.microsoft.com/office/drawing/2014/main" id="{C8E2B4BB-3573-6797-AD5A-AC6972D09C07}"/>
              </a:ext>
            </a:extLst>
          </p:cNvPr>
          <p:cNvSpPr>
            <a:spLocks noChangeArrowheads="1"/>
          </p:cNvSpPr>
          <p:nvPr/>
        </p:nvSpPr>
        <p:spPr bwMode="auto">
          <a:xfrm>
            <a:off x="4179748" y="1521548"/>
            <a:ext cx="2273321" cy="1053082"/>
          </a:xfrm>
          <a:custGeom>
            <a:avLst/>
            <a:gdLst>
              <a:gd name="T0" fmla="*/ 5099 w 5100"/>
              <a:gd name="T1" fmla="*/ 2890 h 2891"/>
              <a:gd name="T2" fmla="*/ 0 w 5100"/>
              <a:gd name="T3" fmla="*/ 2890 h 2891"/>
              <a:gd name="T4" fmla="*/ 0 w 5100"/>
              <a:gd name="T5" fmla="*/ 0 h 2891"/>
              <a:gd name="T6" fmla="*/ 5099 w 5100"/>
              <a:gd name="T7" fmla="*/ 0 h 2891"/>
              <a:gd name="T8" fmla="*/ 5099 w 5100"/>
              <a:gd name="T9" fmla="*/ 2890 h 2891"/>
            </a:gdLst>
            <a:ahLst/>
            <a:cxnLst>
              <a:cxn ang="0">
                <a:pos x="T0" y="T1"/>
              </a:cxn>
              <a:cxn ang="0">
                <a:pos x="T2" y="T3"/>
              </a:cxn>
              <a:cxn ang="0">
                <a:pos x="T4" y="T5"/>
              </a:cxn>
              <a:cxn ang="0">
                <a:pos x="T6" y="T7"/>
              </a:cxn>
              <a:cxn ang="0">
                <a:pos x="T8" y="T9"/>
              </a:cxn>
            </a:cxnLst>
            <a:rect l="0" t="0" r="r" b="b"/>
            <a:pathLst>
              <a:path w="5100" h="2891">
                <a:moveTo>
                  <a:pt x="5099" y="2890"/>
                </a:moveTo>
                <a:lnTo>
                  <a:pt x="0" y="2890"/>
                </a:lnTo>
                <a:lnTo>
                  <a:pt x="0" y="0"/>
                </a:lnTo>
                <a:lnTo>
                  <a:pt x="5099" y="0"/>
                </a:lnTo>
                <a:lnTo>
                  <a:pt x="5099" y="2890"/>
                </a:lnTo>
              </a:path>
            </a:pathLst>
          </a:custGeom>
          <a:solidFill>
            <a:schemeClr val="bg2">
              <a:lumMod val="50000"/>
            </a:schemeClr>
          </a:solidFill>
          <a:ln>
            <a:noFill/>
          </a:ln>
          <a:effectLst/>
        </p:spPr>
        <p:txBody>
          <a:bodyPr wrap="none" anchor="ctr"/>
          <a:lstStyle/>
          <a:p>
            <a:endParaRPr lang="en-US" sz="3200"/>
          </a:p>
        </p:txBody>
      </p:sp>
      <p:sp>
        <p:nvSpPr>
          <p:cNvPr id="19" name="Freeform 11">
            <a:extLst>
              <a:ext uri="{FF2B5EF4-FFF2-40B4-BE49-F238E27FC236}">
                <a16:creationId xmlns:a16="http://schemas.microsoft.com/office/drawing/2014/main" id="{0125495A-CC6A-17D7-D145-DDB59DA32CCF}"/>
              </a:ext>
            </a:extLst>
          </p:cNvPr>
          <p:cNvSpPr>
            <a:spLocks noChangeArrowheads="1"/>
          </p:cNvSpPr>
          <p:nvPr/>
        </p:nvSpPr>
        <p:spPr bwMode="auto">
          <a:xfrm>
            <a:off x="7437818" y="1703115"/>
            <a:ext cx="4305186" cy="4496177"/>
          </a:xfrm>
          <a:custGeom>
            <a:avLst/>
            <a:gdLst>
              <a:gd name="T0" fmla="*/ 5314 w 5315"/>
              <a:gd name="T1" fmla="*/ 13783 h 13784"/>
              <a:gd name="T2" fmla="*/ 0 w 5315"/>
              <a:gd name="T3" fmla="*/ 13783 h 13784"/>
              <a:gd name="T4" fmla="*/ 0 w 5315"/>
              <a:gd name="T5" fmla="*/ 0 h 13784"/>
              <a:gd name="T6" fmla="*/ 5314 w 5315"/>
              <a:gd name="T7" fmla="*/ 0 h 13784"/>
              <a:gd name="T8" fmla="*/ 5314 w 5315"/>
              <a:gd name="T9" fmla="*/ 13783 h 13784"/>
            </a:gdLst>
            <a:ahLst/>
            <a:cxnLst>
              <a:cxn ang="0">
                <a:pos x="T0" y="T1"/>
              </a:cxn>
              <a:cxn ang="0">
                <a:pos x="T2" y="T3"/>
              </a:cxn>
              <a:cxn ang="0">
                <a:pos x="T4" y="T5"/>
              </a:cxn>
              <a:cxn ang="0">
                <a:pos x="T6" y="T7"/>
              </a:cxn>
              <a:cxn ang="0">
                <a:pos x="T8" y="T9"/>
              </a:cxn>
            </a:cxnLst>
            <a:rect l="0" t="0" r="r" b="b"/>
            <a:pathLst>
              <a:path w="5315" h="13784">
                <a:moveTo>
                  <a:pt x="5314" y="13783"/>
                </a:moveTo>
                <a:lnTo>
                  <a:pt x="0" y="13783"/>
                </a:lnTo>
                <a:lnTo>
                  <a:pt x="0" y="0"/>
                </a:lnTo>
                <a:lnTo>
                  <a:pt x="5314" y="0"/>
                </a:lnTo>
                <a:lnTo>
                  <a:pt x="5314" y="13783"/>
                </a:lnTo>
              </a:path>
            </a:pathLst>
          </a:custGeom>
          <a:solidFill>
            <a:schemeClr val="accent4">
              <a:lumMod val="60000"/>
              <a:lumOff val="40000"/>
            </a:schemeClr>
          </a:solidFill>
          <a:ln>
            <a:noFill/>
          </a:ln>
          <a:effectLst/>
        </p:spPr>
        <p:txBody>
          <a:bodyPr wrap="none" anchor="ctr"/>
          <a:lstStyle/>
          <a:p>
            <a:endParaRPr lang="en-US" sz="3200"/>
          </a:p>
        </p:txBody>
      </p:sp>
      <p:sp>
        <p:nvSpPr>
          <p:cNvPr id="20" name="Freeform 12">
            <a:extLst>
              <a:ext uri="{FF2B5EF4-FFF2-40B4-BE49-F238E27FC236}">
                <a16:creationId xmlns:a16="http://schemas.microsoft.com/office/drawing/2014/main" id="{1B347BEA-F502-091B-A2F9-53D20C0A3DC3}"/>
              </a:ext>
            </a:extLst>
          </p:cNvPr>
          <p:cNvSpPr>
            <a:spLocks noChangeArrowheads="1"/>
          </p:cNvSpPr>
          <p:nvPr/>
        </p:nvSpPr>
        <p:spPr bwMode="auto">
          <a:xfrm>
            <a:off x="7437818" y="1703115"/>
            <a:ext cx="2367633" cy="1151007"/>
          </a:xfrm>
          <a:custGeom>
            <a:avLst/>
            <a:gdLst>
              <a:gd name="T0" fmla="*/ 0 w 5315"/>
              <a:gd name="T1" fmla="*/ 2398 h 3160"/>
              <a:gd name="T2" fmla="*/ 5314 w 5315"/>
              <a:gd name="T3" fmla="*/ 3159 h 3160"/>
              <a:gd name="T4" fmla="*/ 5314 w 5315"/>
              <a:gd name="T5" fmla="*/ 0 h 3160"/>
              <a:gd name="T6" fmla="*/ 4435 w 5315"/>
              <a:gd name="T7" fmla="*/ 0 h 3160"/>
              <a:gd name="T8" fmla="*/ 0 w 5315"/>
              <a:gd name="T9" fmla="*/ 2398 h 3160"/>
            </a:gdLst>
            <a:ahLst/>
            <a:cxnLst>
              <a:cxn ang="0">
                <a:pos x="T0" y="T1"/>
              </a:cxn>
              <a:cxn ang="0">
                <a:pos x="T2" y="T3"/>
              </a:cxn>
              <a:cxn ang="0">
                <a:pos x="T4" y="T5"/>
              </a:cxn>
              <a:cxn ang="0">
                <a:pos x="T6" y="T7"/>
              </a:cxn>
              <a:cxn ang="0">
                <a:pos x="T8" y="T9"/>
              </a:cxn>
            </a:cxnLst>
            <a:rect l="0" t="0" r="r" b="b"/>
            <a:pathLst>
              <a:path w="5315" h="3160">
                <a:moveTo>
                  <a:pt x="0" y="2398"/>
                </a:moveTo>
                <a:lnTo>
                  <a:pt x="5314" y="3159"/>
                </a:lnTo>
                <a:lnTo>
                  <a:pt x="5314" y="0"/>
                </a:lnTo>
                <a:lnTo>
                  <a:pt x="4435" y="0"/>
                </a:lnTo>
                <a:lnTo>
                  <a:pt x="0" y="2398"/>
                </a:lnTo>
              </a:path>
            </a:pathLst>
          </a:custGeom>
          <a:solidFill>
            <a:schemeClr val="accent4">
              <a:lumMod val="75000"/>
            </a:schemeClr>
          </a:solidFill>
          <a:ln>
            <a:noFill/>
          </a:ln>
          <a:effectLst/>
        </p:spPr>
        <p:txBody>
          <a:bodyPr wrap="none" anchor="ctr"/>
          <a:lstStyle/>
          <a:p>
            <a:endParaRPr lang="en-US" sz="3200"/>
          </a:p>
        </p:txBody>
      </p:sp>
      <p:sp>
        <p:nvSpPr>
          <p:cNvPr id="21" name="Freeform 13">
            <a:extLst>
              <a:ext uri="{FF2B5EF4-FFF2-40B4-BE49-F238E27FC236}">
                <a16:creationId xmlns:a16="http://schemas.microsoft.com/office/drawing/2014/main" id="{D9D21DD1-CD3D-8356-A420-2847AF6DEA5D}"/>
              </a:ext>
            </a:extLst>
          </p:cNvPr>
          <p:cNvSpPr>
            <a:spLocks noChangeArrowheads="1"/>
          </p:cNvSpPr>
          <p:nvPr/>
        </p:nvSpPr>
        <p:spPr bwMode="auto">
          <a:xfrm>
            <a:off x="7186318" y="1524926"/>
            <a:ext cx="2273321" cy="1053082"/>
          </a:xfrm>
          <a:custGeom>
            <a:avLst/>
            <a:gdLst>
              <a:gd name="T0" fmla="*/ 5099 w 5100"/>
              <a:gd name="T1" fmla="*/ 2890 h 2891"/>
              <a:gd name="T2" fmla="*/ 0 w 5100"/>
              <a:gd name="T3" fmla="*/ 2890 h 2891"/>
              <a:gd name="T4" fmla="*/ 0 w 5100"/>
              <a:gd name="T5" fmla="*/ 0 h 2891"/>
              <a:gd name="T6" fmla="*/ 5099 w 5100"/>
              <a:gd name="T7" fmla="*/ 0 h 2891"/>
              <a:gd name="T8" fmla="*/ 5099 w 5100"/>
              <a:gd name="T9" fmla="*/ 2890 h 2891"/>
            </a:gdLst>
            <a:ahLst/>
            <a:cxnLst>
              <a:cxn ang="0">
                <a:pos x="T0" y="T1"/>
              </a:cxn>
              <a:cxn ang="0">
                <a:pos x="T2" y="T3"/>
              </a:cxn>
              <a:cxn ang="0">
                <a:pos x="T4" y="T5"/>
              </a:cxn>
              <a:cxn ang="0">
                <a:pos x="T6" y="T7"/>
              </a:cxn>
              <a:cxn ang="0">
                <a:pos x="T8" y="T9"/>
              </a:cxn>
            </a:cxnLst>
            <a:rect l="0" t="0" r="r" b="b"/>
            <a:pathLst>
              <a:path w="5100" h="2891">
                <a:moveTo>
                  <a:pt x="5099" y="2890"/>
                </a:moveTo>
                <a:lnTo>
                  <a:pt x="0" y="2890"/>
                </a:lnTo>
                <a:lnTo>
                  <a:pt x="0" y="0"/>
                </a:lnTo>
                <a:lnTo>
                  <a:pt x="5099" y="0"/>
                </a:lnTo>
                <a:lnTo>
                  <a:pt x="5099" y="2890"/>
                </a:lnTo>
              </a:path>
            </a:pathLst>
          </a:custGeom>
          <a:solidFill>
            <a:schemeClr val="accent4"/>
          </a:solidFill>
          <a:ln>
            <a:noFill/>
          </a:ln>
          <a:effectLst/>
        </p:spPr>
        <p:txBody>
          <a:bodyPr wrap="none" anchor="ctr"/>
          <a:lstStyle/>
          <a:p>
            <a:endParaRPr lang="en-US" sz="3200"/>
          </a:p>
        </p:txBody>
      </p:sp>
      <p:sp>
        <p:nvSpPr>
          <p:cNvPr id="25" name="TextBox 24">
            <a:extLst>
              <a:ext uri="{FF2B5EF4-FFF2-40B4-BE49-F238E27FC236}">
                <a16:creationId xmlns:a16="http://schemas.microsoft.com/office/drawing/2014/main" id="{5784C340-2606-F00D-98B6-E6158A38AFE6}"/>
              </a:ext>
            </a:extLst>
          </p:cNvPr>
          <p:cNvSpPr txBox="1"/>
          <p:nvPr/>
        </p:nvSpPr>
        <p:spPr>
          <a:xfrm>
            <a:off x="775397" y="1833741"/>
            <a:ext cx="1842171" cy="307777"/>
          </a:xfrm>
          <a:prstGeom prst="rect">
            <a:avLst/>
          </a:prstGeom>
          <a:noFill/>
        </p:spPr>
        <p:txBody>
          <a:bodyPr wrap="square" rtlCol="0" anchor="ctr">
            <a:spAutoFit/>
          </a:bodyPr>
          <a:lstStyle>
            <a:defPPr>
              <a:defRPr lang="en-US"/>
            </a:defPPr>
            <a:lvl1pPr algn="ctr">
              <a:defRPr sz="1400" b="1">
                <a:solidFill>
                  <a:schemeClr val="bg1"/>
                </a:solidFill>
                <a:latin typeface="Poppins SemiBold" pitchFamily="2" charset="77"/>
                <a:ea typeface="League Spartan" charset="0"/>
                <a:cs typeface="Poppins SemiBold" pitchFamily="2" charset="77"/>
              </a:defRPr>
            </a:lvl1pPr>
          </a:lstStyle>
          <a:p>
            <a:r>
              <a:rPr lang="es-PE" dirty="0"/>
              <a:t>¿</a:t>
            </a:r>
            <a:r>
              <a:rPr lang="en-US" dirty="0" err="1"/>
              <a:t>Qué</a:t>
            </a:r>
            <a:r>
              <a:rPr lang="en-US" dirty="0"/>
              <a:t> es </a:t>
            </a:r>
            <a:r>
              <a:rPr lang="en-US" dirty="0" err="1"/>
              <a:t>el</a:t>
            </a:r>
            <a:r>
              <a:rPr lang="en-US" dirty="0"/>
              <a:t> PASSO?</a:t>
            </a:r>
          </a:p>
        </p:txBody>
      </p:sp>
      <p:sp>
        <p:nvSpPr>
          <p:cNvPr id="26" name="TextBox 25">
            <a:extLst>
              <a:ext uri="{FF2B5EF4-FFF2-40B4-BE49-F238E27FC236}">
                <a16:creationId xmlns:a16="http://schemas.microsoft.com/office/drawing/2014/main" id="{950996EF-3742-FE9F-06FA-E0739F7B382F}"/>
              </a:ext>
            </a:extLst>
          </p:cNvPr>
          <p:cNvSpPr txBox="1"/>
          <p:nvPr/>
        </p:nvSpPr>
        <p:spPr>
          <a:xfrm>
            <a:off x="4503812" y="1653675"/>
            <a:ext cx="1662749" cy="738664"/>
          </a:xfrm>
          <a:prstGeom prst="rect">
            <a:avLst/>
          </a:prstGeom>
          <a:noFill/>
        </p:spPr>
        <p:txBody>
          <a:bodyPr wrap="square" rtlCol="0" anchor="ctr">
            <a:spAutoFit/>
          </a:bodyPr>
          <a:lstStyle>
            <a:defPPr>
              <a:defRPr lang="en-US"/>
            </a:defPPr>
            <a:lvl1pPr algn="ctr">
              <a:defRPr sz="1400" b="1">
                <a:solidFill>
                  <a:schemeClr val="bg1"/>
                </a:solidFill>
                <a:latin typeface="Poppins SemiBold" pitchFamily="2" charset="77"/>
                <a:ea typeface="League Spartan" charset="0"/>
                <a:cs typeface="Poppins SemiBold" pitchFamily="2" charset="77"/>
              </a:defRPr>
            </a:lvl1pPr>
          </a:lstStyle>
          <a:p>
            <a:r>
              <a:rPr lang="en-US" dirty="0"/>
              <a:t>¿</a:t>
            </a:r>
            <a:r>
              <a:rPr lang="en-US" dirty="0" err="1"/>
              <a:t>Cómo</a:t>
            </a:r>
            <a:r>
              <a:rPr lang="en-US" dirty="0"/>
              <a:t> </a:t>
            </a:r>
            <a:r>
              <a:rPr lang="en-US" dirty="0" err="1"/>
              <a:t>está</a:t>
            </a:r>
            <a:r>
              <a:rPr lang="en-US" dirty="0"/>
              <a:t> </a:t>
            </a:r>
            <a:r>
              <a:rPr lang="en-US" dirty="0" err="1"/>
              <a:t>conformado</a:t>
            </a:r>
            <a:r>
              <a:rPr lang="en-US" dirty="0"/>
              <a:t> </a:t>
            </a:r>
            <a:r>
              <a:rPr lang="en-US" dirty="0" err="1"/>
              <a:t>el</a:t>
            </a:r>
            <a:r>
              <a:rPr lang="en-US" dirty="0"/>
              <a:t> PASSO?</a:t>
            </a:r>
          </a:p>
        </p:txBody>
      </p:sp>
      <p:sp>
        <p:nvSpPr>
          <p:cNvPr id="61" name="Subtitle 2">
            <a:extLst>
              <a:ext uri="{FF2B5EF4-FFF2-40B4-BE49-F238E27FC236}">
                <a16:creationId xmlns:a16="http://schemas.microsoft.com/office/drawing/2014/main" id="{C0798644-15D5-29B9-91E7-6AC0E01364E7}"/>
              </a:ext>
            </a:extLst>
          </p:cNvPr>
          <p:cNvSpPr txBox="1">
            <a:spLocks/>
          </p:cNvSpPr>
          <p:nvPr/>
        </p:nvSpPr>
        <p:spPr>
          <a:xfrm>
            <a:off x="694706" y="2947600"/>
            <a:ext cx="3211887" cy="2559162"/>
          </a:xfrm>
          <a:prstGeom prst="rect">
            <a:avLst/>
          </a:prstGeom>
          <a:noFill/>
        </p:spPr>
        <p:txBody>
          <a:bodyPr wrap="square" rtlCol="0" anchor="ctr">
            <a:spAutoFit/>
          </a:bodyPr>
          <a:lstStyle>
            <a:defPPr>
              <a:defRPr lang="en-US"/>
            </a:defPPr>
            <a:lvl1pPr algn="just">
              <a:defRPr sz="1200" b="1">
                <a:solidFill>
                  <a:schemeClr val="bg1"/>
                </a:solidFill>
                <a:latin typeface="Poppins SemiBold" pitchFamily="2" charset="77"/>
                <a:ea typeface="League Spartan" charset="0"/>
                <a:cs typeface="Poppins SemiBold" pitchFamily="2"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nSpc>
                <a:spcPct val="150000"/>
              </a:lnSpc>
            </a:pPr>
            <a:r>
              <a:rPr lang="es-ES" dirty="0">
                <a:solidFill>
                  <a:schemeClr val="tx1"/>
                </a:solidFill>
              </a:rPr>
              <a:t>Es el documento que contiene el conjunto de actividades a desarrollar a lo largo de un (1) año, sobre la base de un diagnóstico del estado actual del cumplimiento del SGSSO, con la finalidad de eliminar o controlar los riesgos para prevenir posibles incidentes y/o enfermedades ocupacionales</a:t>
            </a:r>
            <a:endParaRPr lang="en-US" dirty="0">
              <a:solidFill>
                <a:schemeClr val="tx1"/>
              </a:solidFill>
            </a:endParaRPr>
          </a:p>
        </p:txBody>
      </p:sp>
      <p:sp>
        <p:nvSpPr>
          <p:cNvPr id="63" name="TextBox 62">
            <a:extLst>
              <a:ext uri="{FF2B5EF4-FFF2-40B4-BE49-F238E27FC236}">
                <a16:creationId xmlns:a16="http://schemas.microsoft.com/office/drawing/2014/main" id="{19826B47-538D-D55A-CCBE-9E48527F63F6}"/>
              </a:ext>
            </a:extLst>
          </p:cNvPr>
          <p:cNvSpPr txBox="1"/>
          <p:nvPr/>
        </p:nvSpPr>
        <p:spPr>
          <a:xfrm>
            <a:off x="4558589" y="2942100"/>
            <a:ext cx="2367633" cy="2893100"/>
          </a:xfrm>
          <a:prstGeom prst="rect">
            <a:avLst/>
          </a:prstGeom>
          <a:noFill/>
        </p:spPr>
        <p:txBody>
          <a:bodyPr wrap="square" rtlCol="0" anchor="ctr">
            <a:spAutoFit/>
          </a:bodyPr>
          <a:lstStyle>
            <a:defPPr>
              <a:defRPr lang="en-US"/>
            </a:defPPr>
            <a:lvl1pPr algn="just">
              <a:defRPr sz="1200" b="1">
                <a:solidFill>
                  <a:schemeClr val="bg1"/>
                </a:solidFill>
                <a:latin typeface="Poppins SemiBold" pitchFamily="2" charset="77"/>
                <a:ea typeface="League Spartan" charset="0"/>
                <a:cs typeface="Poppins SemiBold" pitchFamily="2"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endParaRPr lang="en-US" sz="1400" dirty="0">
              <a:solidFill>
                <a:schemeClr val="tx1"/>
              </a:solidFill>
            </a:endParaRPr>
          </a:p>
          <a:p>
            <a:pPr marL="171450" indent="-171450">
              <a:buFont typeface="Arial" panose="020B0604020202020204" pitchFamily="34" charset="0"/>
              <a:buChar char="•"/>
            </a:pPr>
            <a:r>
              <a:rPr lang="en-US" sz="1400" dirty="0" err="1">
                <a:solidFill>
                  <a:schemeClr val="tx1"/>
                </a:solidFill>
              </a:rPr>
              <a:t>Programa</a:t>
            </a:r>
            <a:r>
              <a:rPr lang="en-US" sz="1400" dirty="0">
                <a:solidFill>
                  <a:schemeClr val="tx1"/>
                </a:solidFill>
              </a:rPr>
              <a:t> de </a:t>
            </a:r>
            <a:r>
              <a:rPr lang="en-US" sz="1400" dirty="0" err="1">
                <a:solidFill>
                  <a:schemeClr val="tx1"/>
                </a:solidFill>
              </a:rPr>
              <a:t>Gestión</a:t>
            </a:r>
            <a:r>
              <a:rPr lang="en-US" sz="1400" dirty="0">
                <a:solidFill>
                  <a:schemeClr val="tx1"/>
                </a:solidFill>
              </a:rPr>
              <a:t> de </a:t>
            </a:r>
            <a:r>
              <a:rPr lang="en-US" sz="1400" dirty="0" err="1">
                <a:solidFill>
                  <a:schemeClr val="tx1"/>
                </a:solidFill>
              </a:rPr>
              <a:t>Riesgos</a:t>
            </a:r>
            <a:r>
              <a:rPr lang="en-US" sz="1400" dirty="0">
                <a:solidFill>
                  <a:schemeClr val="tx1"/>
                </a:solidFill>
              </a:rPr>
              <a:t> </a:t>
            </a:r>
            <a:r>
              <a:rPr lang="en-US" sz="1400" dirty="0" err="1">
                <a:solidFill>
                  <a:schemeClr val="tx1"/>
                </a:solidFill>
              </a:rPr>
              <a:t>Crtíticos</a:t>
            </a:r>
            <a:r>
              <a:rPr lang="en-US" sz="1400" dirty="0">
                <a:solidFill>
                  <a:schemeClr val="tx1"/>
                </a:solidFill>
              </a:rPr>
              <a:t>.</a:t>
            </a:r>
          </a:p>
          <a:p>
            <a:endParaRPr lang="en-US" sz="1400" dirty="0">
              <a:solidFill>
                <a:schemeClr val="tx1"/>
              </a:solidFill>
            </a:endParaRPr>
          </a:p>
          <a:p>
            <a:pPr marL="171450" indent="-171450">
              <a:buFont typeface="Arial" panose="020B0604020202020204" pitchFamily="34" charset="0"/>
              <a:buChar char="•"/>
            </a:pPr>
            <a:r>
              <a:rPr lang="en-US" sz="1400" dirty="0" err="1">
                <a:solidFill>
                  <a:schemeClr val="tx1"/>
                </a:solidFill>
              </a:rPr>
              <a:t>Programa</a:t>
            </a:r>
            <a:r>
              <a:rPr lang="en-US" sz="1400" dirty="0">
                <a:solidFill>
                  <a:schemeClr val="tx1"/>
                </a:solidFill>
              </a:rPr>
              <a:t> de </a:t>
            </a:r>
            <a:r>
              <a:rPr lang="en-US" sz="1400" dirty="0" err="1">
                <a:solidFill>
                  <a:schemeClr val="tx1"/>
                </a:solidFill>
              </a:rPr>
              <a:t>Salud</a:t>
            </a:r>
            <a:r>
              <a:rPr lang="en-US" sz="1400" dirty="0">
                <a:solidFill>
                  <a:schemeClr val="tx1"/>
                </a:solidFill>
              </a:rPr>
              <a:t> </a:t>
            </a:r>
            <a:r>
              <a:rPr lang="en-US" sz="1400" dirty="0" err="1">
                <a:solidFill>
                  <a:schemeClr val="tx1"/>
                </a:solidFill>
              </a:rPr>
              <a:t>Ocupacional</a:t>
            </a:r>
            <a:r>
              <a:rPr lang="en-US" sz="1400" dirty="0">
                <a:solidFill>
                  <a:schemeClr val="tx1"/>
                </a:solidFill>
              </a:rPr>
              <a:t>.</a:t>
            </a:r>
          </a:p>
          <a:p>
            <a:endParaRPr lang="en-US" sz="1400" dirty="0">
              <a:solidFill>
                <a:schemeClr val="tx1"/>
              </a:solidFill>
            </a:endParaRPr>
          </a:p>
          <a:p>
            <a:pPr marL="171450" indent="-171450">
              <a:buFont typeface="Arial" panose="020B0604020202020204" pitchFamily="34" charset="0"/>
              <a:buChar char="•"/>
            </a:pPr>
            <a:r>
              <a:rPr lang="en-US" sz="1400" dirty="0" err="1">
                <a:solidFill>
                  <a:schemeClr val="tx1"/>
                </a:solidFill>
              </a:rPr>
              <a:t>Programa</a:t>
            </a:r>
            <a:r>
              <a:rPr lang="en-US" sz="1400" dirty="0">
                <a:solidFill>
                  <a:schemeClr val="tx1"/>
                </a:solidFill>
              </a:rPr>
              <a:t> de </a:t>
            </a:r>
            <a:r>
              <a:rPr lang="en-US" sz="1400" dirty="0" err="1">
                <a:solidFill>
                  <a:schemeClr val="tx1"/>
                </a:solidFill>
              </a:rPr>
              <a:t>Capacitación</a:t>
            </a:r>
            <a:r>
              <a:rPr lang="en-US" sz="1400" dirty="0">
                <a:solidFill>
                  <a:schemeClr val="tx1"/>
                </a:solidFill>
              </a:rPr>
              <a:t> de SSO.</a:t>
            </a:r>
          </a:p>
          <a:p>
            <a:endParaRPr lang="en-US" sz="1400" dirty="0">
              <a:solidFill>
                <a:schemeClr val="tx1"/>
              </a:solidFill>
            </a:endParaRPr>
          </a:p>
          <a:p>
            <a:pPr marL="171450" indent="-171450">
              <a:buFont typeface="Arial" panose="020B0604020202020204" pitchFamily="34" charset="0"/>
              <a:buChar char="•"/>
            </a:pPr>
            <a:r>
              <a:rPr lang="en-US" sz="1400" dirty="0" err="1">
                <a:solidFill>
                  <a:schemeClr val="tx1"/>
                </a:solidFill>
              </a:rPr>
              <a:t>Programa</a:t>
            </a:r>
            <a:r>
              <a:rPr lang="en-US" sz="1400" dirty="0">
                <a:solidFill>
                  <a:schemeClr val="tx1"/>
                </a:solidFill>
              </a:rPr>
              <a:t> de </a:t>
            </a:r>
            <a:r>
              <a:rPr lang="en-US" sz="1400" dirty="0" err="1">
                <a:solidFill>
                  <a:schemeClr val="tx1"/>
                </a:solidFill>
              </a:rPr>
              <a:t>Gestión</a:t>
            </a:r>
            <a:r>
              <a:rPr lang="en-US" sz="1400" dirty="0">
                <a:solidFill>
                  <a:schemeClr val="tx1"/>
                </a:solidFill>
              </a:rPr>
              <a:t> de </a:t>
            </a:r>
            <a:r>
              <a:rPr lang="en-US" sz="1400" dirty="0" err="1">
                <a:solidFill>
                  <a:schemeClr val="tx1"/>
                </a:solidFill>
              </a:rPr>
              <a:t>Emergencias</a:t>
            </a:r>
            <a:r>
              <a:rPr lang="en-US" sz="1400" dirty="0">
                <a:solidFill>
                  <a:schemeClr val="tx1"/>
                </a:solidFill>
              </a:rPr>
              <a:t> y Crisis.</a:t>
            </a:r>
          </a:p>
        </p:txBody>
      </p:sp>
      <p:sp>
        <p:nvSpPr>
          <p:cNvPr id="64" name="TextBox 63">
            <a:extLst>
              <a:ext uri="{FF2B5EF4-FFF2-40B4-BE49-F238E27FC236}">
                <a16:creationId xmlns:a16="http://schemas.microsoft.com/office/drawing/2014/main" id="{F74CE63A-2D79-847D-8A0C-3DB25E81ECA6}"/>
              </a:ext>
            </a:extLst>
          </p:cNvPr>
          <p:cNvSpPr txBox="1"/>
          <p:nvPr/>
        </p:nvSpPr>
        <p:spPr>
          <a:xfrm>
            <a:off x="7350682" y="1666543"/>
            <a:ext cx="1944592" cy="738664"/>
          </a:xfrm>
          <a:prstGeom prst="rect">
            <a:avLst/>
          </a:prstGeom>
          <a:noFill/>
        </p:spPr>
        <p:txBody>
          <a:bodyPr wrap="square" rtlCol="0" anchor="ctr">
            <a:spAutoFit/>
          </a:bodyPr>
          <a:lstStyle>
            <a:defPPr>
              <a:defRPr lang="en-US"/>
            </a:defPPr>
            <a:lvl1pPr algn="ctr">
              <a:defRPr sz="1400" b="1">
                <a:solidFill>
                  <a:schemeClr val="bg1"/>
                </a:solidFill>
                <a:latin typeface="Poppins SemiBold" pitchFamily="2" charset="77"/>
                <a:ea typeface="League Spartan" charset="0"/>
                <a:cs typeface="Poppins SemiBold" pitchFamily="2" charset="77"/>
              </a:defRPr>
            </a:lvl1pPr>
          </a:lstStyle>
          <a:p>
            <a:r>
              <a:rPr lang="en-US" dirty="0"/>
              <a:t>¿</a:t>
            </a:r>
            <a:r>
              <a:rPr lang="en-US" dirty="0" err="1"/>
              <a:t>Cuáles</a:t>
            </a:r>
            <a:r>
              <a:rPr lang="en-US" dirty="0"/>
              <a:t> son </a:t>
            </a:r>
            <a:r>
              <a:rPr lang="en-US" dirty="0" err="1"/>
              <a:t>los</a:t>
            </a:r>
            <a:r>
              <a:rPr lang="en-US" dirty="0"/>
              <a:t> </a:t>
            </a:r>
            <a:r>
              <a:rPr lang="en-US" dirty="0" err="1"/>
              <a:t>objetivos</a:t>
            </a:r>
            <a:r>
              <a:rPr lang="en-US" dirty="0"/>
              <a:t> del PASSO de SMCV?</a:t>
            </a:r>
          </a:p>
        </p:txBody>
      </p:sp>
      <p:sp>
        <p:nvSpPr>
          <p:cNvPr id="65" name="TextBox 64">
            <a:extLst>
              <a:ext uri="{FF2B5EF4-FFF2-40B4-BE49-F238E27FC236}">
                <a16:creationId xmlns:a16="http://schemas.microsoft.com/office/drawing/2014/main" id="{7CA2A399-F6F0-D424-9BC2-490926A4DE32}"/>
              </a:ext>
            </a:extLst>
          </p:cNvPr>
          <p:cNvSpPr txBox="1"/>
          <p:nvPr/>
        </p:nvSpPr>
        <p:spPr>
          <a:xfrm>
            <a:off x="7389952" y="2984928"/>
            <a:ext cx="4305185" cy="3046988"/>
          </a:xfrm>
          <a:prstGeom prst="rect">
            <a:avLst/>
          </a:prstGeom>
          <a:noFill/>
        </p:spPr>
        <p:txBody>
          <a:bodyPr wrap="square" rtlCol="0" anchor="ctr">
            <a:spAutoFit/>
          </a:bodyPr>
          <a:lstStyle>
            <a:defPPr>
              <a:defRPr lang="en-US"/>
            </a:defPPr>
            <a:lvl1pPr algn="just">
              <a:defRPr sz="1200" b="1">
                <a:solidFill>
                  <a:schemeClr val="bg1"/>
                </a:solidFill>
                <a:latin typeface="Poppins SemiBold" pitchFamily="2" charset="77"/>
                <a:ea typeface="League Spartan" charset="0"/>
                <a:cs typeface="Poppins SemiBold" pitchFamily="2"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buFont typeface="Arial" panose="020B0604020202020204" pitchFamily="34" charset="0"/>
              <a:buChar char="•"/>
            </a:pPr>
            <a:r>
              <a:rPr lang="es-PE" dirty="0">
                <a:solidFill>
                  <a:schemeClr val="tx1"/>
                </a:solidFill>
              </a:rPr>
              <a:t>Prevenir la ocurrencia de accidentes de trabajo y fatalidades. </a:t>
            </a:r>
          </a:p>
          <a:p>
            <a:endParaRPr lang="es-PE" dirty="0">
              <a:solidFill>
                <a:schemeClr val="tx1"/>
              </a:solidFill>
            </a:endParaRPr>
          </a:p>
          <a:p>
            <a:pPr marL="171450" indent="-171450">
              <a:buFont typeface="Arial" panose="020B0604020202020204" pitchFamily="34" charset="0"/>
              <a:buChar char="•"/>
            </a:pPr>
            <a:r>
              <a:rPr lang="es-PE" dirty="0">
                <a:solidFill>
                  <a:schemeClr val="tx1"/>
                </a:solidFill>
              </a:rPr>
              <a:t>Prevenir la aparición de enfermedades ocupacionales. </a:t>
            </a:r>
          </a:p>
          <a:p>
            <a:endParaRPr lang="es-PE" dirty="0">
              <a:solidFill>
                <a:schemeClr val="tx1"/>
              </a:solidFill>
            </a:endParaRPr>
          </a:p>
          <a:p>
            <a:pPr marL="171450" indent="-171450">
              <a:buFont typeface="Arial" panose="020B0604020202020204" pitchFamily="34" charset="0"/>
              <a:buChar char="•"/>
            </a:pPr>
            <a:r>
              <a:rPr lang="es-PE" dirty="0">
                <a:solidFill>
                  <a:schemeClr val="tx1"/>
                </a:solidFill>
              </a:rPr>
              <a:t>Eliminar los eventos de alto potencial.</a:t>
            </a:r>
          </a:p>
          <a:p>
            <a:endParaRPr lang="es-PE" dirty="0">
              <a:solidFill>
                <a:schemeClr val="tx1"/>
              </a:solidFill>
            </a:endParaRPr>
          </a:p>
          <a:p>
            <a:pPr marL="171450" indent="-171450">
              <a:buFont typeface="Arial" panose="020B0604020202020204" pitchFamily="34" charset="0"/>
              <a:buChar char="•"/>
            </a:pPr>
            <a:r>
              <a:rPr lang="es-PE" dirty="0">
                <a:solidFill>
                  <a:schemeClr val="tx1"/>
                </a:solidFill>
              </a:rPr>
              <a:t>Formar personal capacitado para el desarrollo de sus actividades de forma segura.</a:t>
            </a:r>
          </a:p>
          <a:p>
            <a:endParaRPr lang="es-PE" dirty="0">
              <a:solidFill>
                <a:schemeClr val="tx1"/>
              </a:solidFill>
            </a:endParaRPr>
          </a:p>
          <a:p>
            <a:pPr marL="171450" indent="-171450">
              <a:buFont typeface="Arial" panose="020B0604020202020204" pitchFamily="34" charset="0"/>
              <a:buChar char="•"/>
            </a:pPr>
            <a:r>
              <a:rPr lang="es-PE" dirty="0">
                <a:solidFill>
                  <a:schemeClr val="tx1"/>
                </a:solidFill>
              </a:rPr>
              <a:t>Asegurar la eficiencia del SGSSO.</a:t>
            </a:r>
          </a:p>
          <a:p>
            <a:endParaRPr lang="es-PE" dirty="0">
              <a:solidFill>
                <a:schemeClr val="tx1"/>
              </a:solidFill>
            </a:endParaRPr>
          </a:p>
          <a:p>
            <a:pPr marL="171450" indent="-171450">
              <a:buFont typeface="Arial" panose="020B0604020202020204" pitchFamily="34" charset="0"/>
              <a:buChar char="•"/>
            </a:pPr>
            <a:r>
              <a:rPr lang="es-PE" dirty="0">
                <a:solidFill>
                  <a:schemeClr val="tx1"/>
                </a:solidFill>
              </a:rPr>
              <a:t>Asegurar que las empresas contratistas tengan una participación activa en el cumplimiento del PASSO. </a:t>
            </a:r>
            <a:endParaRPr lang="en-US" dirty="0">
              <a:solidFill>
                <a:schemeClr val="tx1"/>
              </a:solidFill>
            </a:endParaRPr>
          </a:p>
        </p:txBody>
      </p:sp>
    </p:spTree>
    <p:extLst>
      <p:ext uri="{BB962C8B-B14F-4D97-AF65-F5344CB8AC3E}">
        <p14:creationId xmlns:p14="http://schemas.microsoft.com/office/powerpoint/2010/main" val="3564897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2963252"/>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latin typeface="Abadi" panose="020B0604020104020204" pitchFamily="34" charset="0"/>
              </a:rPr>
              <a:t>PARTICIPACIÓN EN EL SGSSO</a:t>
            </a:r>
            <a:endParaRPr lang="en-US" altLang="en-US" sz="2800" dirty="0">
              <a:solidFill>
                <a:schemeClr val="bg1"/>
              </a:solidFill>
              <a:latin typeface="Abadi" panose="020B0604020104020204" pitchFamily="34" charset="0"/>
            </a:endParaRPr>
          </a:p>
        </p:txBody>
      </p:sp>
    </p:spTree>
    <p:extLst>
      <p:ext uri="{BB962C8B-B14F-4D97-AF65-F5344CB8AC3E}">
        <p14:creationId xmlns:p14="http://schemas.microsoft.com/office/powerpoint/2010/main" val="4099578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9E0A5-32BE-1818-AC5D-0198345C9C74}"/>
              </a:ext>
            </a:extLst>
          </p:cNvPr>
          <p:cNvSpPr>
            <a:spLocks noGrp="1"/>
          </p:cNvSpPr>
          <p:nvPr>
            <p:ph type="title"/>
          </p:nvPr>
        </p:nvSpPr>
        <p:spPr/>
        <p:txBody>
          <a:bodyPr/>
          <a:lstStyle/>
          <a:p>
            <a:r>
              <a:rPr lang="es-PE" dirty="0"/>
              <a:t>Tu participación en el SGSSO</a:t>
            </a:r>
            <a:endParaRPr lang="en-US" dirty="0"/>
          </a:p>
        </p:txBody>
      </p:sp>
      <p:sp>
        <p:nvSpPr>
          <p:cNvPr id="3" name="TextBox 2">
            <a:extLst>
              <a:ext uri="{FF2B5EF4-FFF2-40B4-BE49-F238E27FC236}">
                <a16:creationId xmlns:a16="http://schemas.microsoft.com/office/drawing/2014/main" id="{F053A1A1-9BF4-D184-46CE-0EC56ECEA2DF}"/>
              </a:ext>
            </a:extLst>
          </p:cNvPr>
          <p:cNvSpPr txBox="1"/>
          <p:nvPr/>
        </p:nvSpPr>
        <p:spPr>
          <a:xfrm>
            <a:off x="707173" y="1462818"/>
            <a:ext cx="7973605"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dirty="0">
                <a:latin typeface="Poppins Medium" panose="020B0502040204020203" pitchFamily="2" charset="0"/>
                <a:cs typeface="Poppins Medium" panose="020B0502040204020203" pitchFamily="2" charset="0"/>
              </a:rPr>
              <a:t>¿Cómo demuestras tu participación en el Sistema de Gestión de Seguridad y Salud Ocupacional?</a:t>
            </a:r>
          </a:p>
        </p:txBody>
      </p:sp>
      <p:sp>
        <p:nvSpPr>
          <p:cNvPr id="4" name="TextBox 3">
            <a:extLst>
              <a:ext uri="{FF2B5EF4-FFF2-40B4-BE49-F238E27FC236}">
                <a16:creationId xmlns:a16="http://schemas.microsoft.com/office/drawing/2014/main" id="{AED8184A-70D8-A3AD-C31C-A79AB771B883}"/>
              </a:ext>
            </a:extLst>
          </p:cNvPr>
          <p:cNvSpPr txBox="1"/>
          <p:nvPr/>
        </p:nvSpPr>
        <p:spPr>
          <a:xfrm>
            <a:off x="661244" y="1865448"/>
            <a:ext cx="9599822" cy="2233945"/>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000" dirty="0">
                <a:effectLst/>
                <a:latin typeface="Poppins" panose="00000500000000000000" pitchFamily="2" charset="0"/>
                <a:ea typeface="Arial" panose="020B0604020202020204" pitchFamily="34" charset="0"/>
                <a:cs typeface="Poppins" panose="00000500000000000000" pitchFamily="2" charset="0"/>
              </a:rPr>
              <a:t>Demuestro mi participación y compromiso de la siguiente manera: </a:t>
            </a:r>
          </a:p>
          <a:p>
            <a:pPr marL="715645" lvl="1" indent="-171450">
              <a:spcBef>
                <a:spcPts val="470"/>
              </a:spcBef>
              <a:buFont typeface="Arial" panose="020B0604020202020204" pitchFamily="34" charset="0"/>
              <a:buChar char="•"/>
            </a:pPr>
            <a:r>
              <a:rPr lang="es-PE" sz="1000" dirty="0">
                <a:latin typeface="Poppins" panose="00000500000000000000" pitchFamily="2" charset="0"/>
                <a:ea typeface="Arial" panose="020B0604020202020204" pitchFamily="34" charset="0"/>
                <a:cs typeface="Poppins" panose="00000500000000000000" pitchFamily="2" charset="0"/>
              </a:rPr>
              <a:t>Tomando decisiones </a:t>
            </a:r>
            <a:r>
              <a:rPr lang="es-PE" sz="1000" b="1" dirty="0">
                <a:solidFill>
                  <a:srgbClr val="C68B69"/>
                </a:solidFill>
                <a:latin typeface="Poppins" panose="00000500000000000000" pitchFamily="2" charset="0"/>
                <a:ea typeface="Arial" panose="020B0604020202020204" pitchFamily="34" charset="0"/>
                <a:cs typeface="Poppins" panose="00000500000000000000" pitchFamily="2" charset="0"/>
              </a:rPr>
              <a:t>CONSCIENTES Y CONSISTENTES</a:t>
            </a:r>
            <a:r>
              <a:rPr lang="es-PE" sz="1000" dirty="0">
                <a:latin typeface="Poppins" panose="00000500000000000000" pitchFamily="2" charset="0"/>
                <a:ea typeface="Arial" panose="020B0604020202020204" pitchFamily="34" charset="0"/>
                <a:cs typeface="Poppins" panose="00000500000000000000" pitchFamily="2" charset="0"/>
              </a:rPr>
              <a:t>.</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Presentándome día a día mental y físicamente listo para trabajar hacia mi </a:t>
            </a:r>
            <a:r>
              <a:rPr lang="es-PE" sz="1000" b="1" dirty="0">
                <a:solidFill>
                  <a:srgbClr val="C68B69"/>
                </a:solidFill>
                <a:effectLst/>
                <a:latin typeface="Poppins" panose="00000500000000000000" pitchFamily="2" charset="0"/>
                <a:ea typeface="Arial" panose="020B0604020202020204" pitchFamily="34" charset="0"/>
                <a:cs typeface="Poppins" panose="00000500000000000000" pitchFamily="2" charset="0"/>
              </a:rPr>
              <a:t>PROPÓSITO</a:t>
            </a:r>
            <a:r>
              <a:rPr lang="es-PE" sz="1000" dirty="0">
                <a:effectLst/>
                <a:latin typeface="Poppins" panose="00000500000000000000" pitchFamily="2" charset="0"/>
                <a:ea typeface="Arial" panose="020B0604020202020204" pitchFamily="34" charset="0"/>
                <a:cs typeface="Poppins" panose="00000500000000000000" pitchFamily="2" charset="0"/>
              </a:rPr>
              <a:t>.</a:t>
            </a:r>
          </a:p>
          <a:p>
            <a:pPr marL="715645" lvl="1" indent="-171450">
              <a:spcBef>
                <a:spcPts val="470"/>
              </a:spcBef>
              <a:buFont typeface="Arial" panose="020B0604020202020204" pitchFamily="34" charset="0"/>
              <a:buChar char="•"/>
            </a:pPr>
            <a:r>
              <a:rPr lang="es-PE" sz="1000" dirty="0">
                <a:latin typeface="Poppins" panose="00000500000000000000" pitchFamily="2" charset="0"/>
                <a:ea typeface="Arial" panose="020B0604020202020204" pitchFamily="34" charset="0"/>
                <a:cs typeface="Poppins" panose="00000500000000000000" pitchFamily="2" charset="0"/>
              </a:rPr>
              <a:t>Actuando éticamente y </a:t>
            </a:r>
            <a:r>
              <a:rPr lang="es-PE" sz="1000" b="1" dirty="0">
                <a:solidFill>
                  <a:srgbClr val="C68B69"/>
                </a:solidFill>
                <a:latin typeface="Poppins" panose="00000500000000000000" pitchFamily="2" charset="0"/>
                <a:ea typeface="Arial" panose="020B0604020202020204" pitchFamily="34" charset="0"/>
                <a:cs typeface="Poppins" panose="00000500000000000000" pitchFamily="2" charset="0"/>
              </a:rPr>
              <a:t>HACIENDO SIEMPRE LO CORRECTO</a:t>
            </a:r>
            <a:r>
              <a:rPr lang="es-PE" sz="1000" dirty="0">
                <a:latin typeface="Poppins" panose="00000500000000000000" pitchFamily="2" charset="0"/>
                <a:ea typeface="Arial" panose="020B0604020202020204" pitchFamily="34" charset="0"/>
                <a:cs typeface="Poppins" panose="00000500000000000000" pitchFamily="2" charset="0"/>
              </a:rPr>
              <a:t>. Cumpliendo los reglamentos, estándares y procedimientos en la ejecución de mis trabajos. </a:t>
            </a:r>
          </a:p>
          <a:p>
            <a:pPr marL="715645" lvl="1" indent="-171450">
              <a:spcBef>
                <a:spcPts val="470"/>
              </a:spcBef>
              <a:buFont typeface="Arial" panose="020B0604020202020204" pitchFamily="34" charset="0"/>
              <a:buChar char="•"/>
            </a:pPr>
            <a:r>
              <a:rPr lang="es-PE" sz="1000" b="1" dirty="0">
                <a:solidFill>
                  <a:srgbClr val="C68B69"/>
                </a:solidFill>
                <a:effectLst/>
                <a:latin typeface="Poppins" panose="00000500000000000000" pitchFamily="2" charset="0"/>
                <a:ea typeface="Arial" panose="020B0604020202020204" pitchFamily="34" charset="0"/>
                <a:cs typeface="Poppins" panose="00000500000000000000" pitchFamily="2" charset="0"/>
              </a:rPr>
              <a:t>COMUNICÁNDONOS PARA LA CONEXIÓN</a:t>
            </a:r>
            <a:r>
              <a:rPr lang="es-PE" sz="1000" dirty="0">
                <a:effectLst/>
                <a:latin typeface="Poppins" panose="00000500000000000000" pitchFamily="2" charset="0"/>
                <a:ea typeface="Arial" panose="020B0604020202020204" pitchFamily="34" charset="0"/>
                <a:cs typeface="Poppins" panose="00000500000000000000" pitchFamily="2" charset="0"/>
              </a:rPr>
              <a:t>, haciendo llegar mis sugerencias o recomendaciones sobre acciones de mejora a través de mis supervisores y/o de los Representantes de los Trabajadores miembros del Comité de SSO.</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Implementando controles a los riesgos evaluados durante la ejecución de mis tareas</a:t>
            </a:r>
            <a:r>
              <a:rPr lang="es-PE" sz="1000" dirty="0">
                <a:latin typeface="Poppins" panose="00000500000000000000" pitchFamily="2" charset="0"/>
                <a:ea typeface="Arial" panose="020B0604020202020204" pitchFamily="34" charset="0"/>
                <a:cs typeface="Poppins" panose="00000500000000000000" pitchFamily="2" charset="0"/>
              </a:rPr>
              <a:t>, evidenciando así </a:t>
            </a:r>
            <a:r>
              <a:rPr lang="es-PE" sz="1000" b="1" dirty="0">
                <a:solidFill>
                  <a:srgbClr val="C68B69"/>
                </a:solidFill>
                <a:latin typeface="Poppins" panose="00000500000000000000" pitchFamily="2" charset="0"/>
                <a:ea typeface="Arial" panose="020B0604020202020204" pitchFamily="34" charset="0"/>
                <a:cs typeface="Poppins" panose="00000500000000000000" pitchFamily="2" charset="0"/>
              </a:rPr>
              <a:t>COMPORTAMIENTOS OBSERVABLES. </a:t>
            </a:r>
            <a:endParaRPr lang="es-PE" sz="1000" b="1" dirty="0">
              <a:solidFill>
                <a:srgbClr val="C68B69"/>
              </a:solidFill>
              <a:effectLst/>
              <a:latin typeface="Poppins" panose="00000500000000000000" pitchFamily="2" charset="0"/>
              <a:ea typeface="Arial" panose="020B0604020202020204" pitchFamily="34" charset="0"/>
              <a:cs typeface="Poppins" panose="00000500000000000000" pitchFamily="2" charset="0"/>
            </a:endParaRPr>
          </a:p>
          <a:p>
            <a:pPr marL="715645" lvl="1" indent="-171450">
              <a:spcBef>
                <a:spcPts val="470"/>
              </a:spcBef>
              <a:buFont typeface="Arial" panose="020B0604020202020204" pitchFamily="34" charset="0"/>
              <a:buChar char="•"/>
            </a:pPr>
            <a:r>
              <a:rPr lang="es-PE" sz="1000" dirty="0">
                <a:latin typeface="Poppins" panose="00000500000000000000" pitchFamily="2" charset="0"/>
                <a:ea typeface="Arial" panose="020B0604020202020204" pitchFamily="34" charset="0"/>
                <a:cs typeface="Poppins" panose="00000500000000000000" pitchFamily="2" charset="0"/>
              </a:rPr>
              <a:t>Reportando actos y condiciones subestándar. </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Cumpliendo con mi </a:t>
            </a:r>
            <a:r>
              <a:rPr lang="es-PE" sz="1000" b="1" dirty="0">
                <a:solidFill>
                  <a:srgbClr val="C68B69"/>
                </a:solidFill>
                <a:effectLst/>
                <a:latin typeface="Poppins" panose="00000500000000000000" pitchFamily="2" charset="0"/>
                <a:ea typeface="Arial" panose="020B0604020202020204" pitchFamily="34" charset="0"/>
                <a:cs typeface="Poppins" panose="00000500000000000000" pitchFamily="2" charset="0"/>
              </a:rPr>
              <a:t>ROL</a:t>
            </a:r>
            <a:r>
              <a:rPr lang="es-PE" sz="1000" dirty="0">
                <a:effectLst/>
                <a:latin typeface="Poppins" panose="00000500000000000000" pitchFamily="2" charset="0"/>
                <a:ea typeface="Arial" panose="020B0604020202020204" pitchFamily="34" charset="0"/>
                <a:cs typeface="Poppins" panose="00000500000000000000" pitchFamily="2" charset="0"/>
              </a:rPr>
              <a:t>, asumiendo su responsabilidad personal y de mis compañeros.   </a:t>
            </a:r>
            <a:endParaRPr lang="en-US" sz="1000" dirty="0">
              <a:effectLst/>
              <a:latin typeface="Poppins" panose="00000500000000000000" pitchFamily="2" charset="0"/>
              <a:ea typeface="Arial" panose="020B0604020202020204" pitchFamily="34" charset="0"/>
              <a:cs typeface="Poppins" panose="00000500000000000000" pitchFamily="2" charset="0"/>
            </a:endParaRPr>
          </a:p>
        </p:txBody>
      </p:sp>
      <p:sp>
        <p:nvSpPr>
          <p:cNvPr id="5" name="TextBox 4">
            <a:extLst>
              <a:ext uri="{FF2B5EF4-FFF2-40B4-BE49-F238E27FC236}">
                <a16:creationId xmlns:a16="http://schemas.microsoft.com/office/drawing/2014/main" id="{83307953-F00B-650E-B8BA-12C00DB0D162}"/>
              </a:ext>
            </a:extLst>
          </p:cNvPr>
          <p:cNvSpPr txBox="1"/>
          <p:nvPr/>
        </p:nvSpPr>
        <p:spPr>
          <a:xfrm>
            <a:off x="661244" y="4170527"/>
            <a:ext cx="7973605"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dirty="0">
                <a:latin typeface="Poppins Medium" panose="020B0502040204020203" pitchFamily="2" charset="0"/>
                <a:cs typeface="Poppins Medium" panose="020B0502040204020203" pitchFamily="2" charset="0"/>
              </a:rPr>
              <a:t>¿Cómo se refuerza la toma de conciencia en temas de Salud y Seguridad en su área de trabajo?</a:t>
            </a:r>
          </a:p>
        </p:txBody>
      </p:sp>
      <p:sp>
        <p:nvSpPr>
          <p:cNvPr id="6" name="TextBox 5">
            <a:extLst>
              <a:ext uri="{FF2B5EF4-FFF2-40B4-BE49-F238E27FC236}">
                <a16:creationId xmlns:a16="http://schemas.microsoft.com/office/drawing/2014/main" id="{BA3340C2-E760-FAAC-1F22-B905F0DD5EC6}"/>
              </a:ext>
            </a:extLst>
          </p:cNvPr>
          <p:cNvSpPr txBox="1"/>
          <p:nvPr/>
        </p:nvSpPr>
        <p:spPr>
          <a:xfrm>
            <a:off x="707173" y="4640811"/>
            <a:ext cx="9599822" cy="1554272"/>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000" dirty="0">
                <a:effectLst/>
                <a:latin typeface="Poppins" panose="00000500000000000000" pitchFamily="2" charset="0"/>
                <a:ea typeface="Arial" panose="020B0604020202020204" pitchFamily="34" charset="0"/>
                <a:cs typeface="Poppins" panose="00000500000000000000" pitchFamily="2" charset="0"/>
              </a:rPr>
              <a:t>Por medio de desarrollo de diferentes actividades, entre ellas tenemos: </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Las charlas diarias de Salud y Seguridad que recibimos. </a:t>
            </a:r>
          </a:p>
          <a:p>
            <a:pPr marL="715645" lvl="1" indent="-171450">
              <a:spcBef>
                <a:spcPts val="470"/>
              </a:spcBef>
              <a:buFont typeface="Arial" panose="020B0604020202020204" pitchFamily="34" charset="0"/>
              <a:buChar char="•"/>
            </a:pPr>
            <a:r>
              <a:rPr lang="es-PE" sz="1000" dirty="0">
                <a:latin typeface="Poppins" panose="00000500000000000000" pitchFamily="2" charset="0"/>
                <a:ea typeface="Arial" panose="020B0604020202020204" pitchFamily="34" charset="0"/>
                <a:cs typeface="Poppins" panose="00000500000000000000" pitchFamily="2" charset="0"/>
              </a:rPr>
              <a:t>Las capacitaciones en cursos obligatorios y condicionantes en Salud y Seguridad.</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Participación en las Auditorías Operativas y Auditorías de Controles Críticos.</a:t>
            </a:r>
          </a:p>
          <a:p>
            <a:pPr marL="715645" lvl="1" indent="-171450">
              <a:spcBef>
                <a:spcPts val="470"/>
              </a:spcBef>
              <a:buFont typeface="Arial" panose="020B0604020202020204" pitchFamily="34" charset="0"/>
              <a:buChar char="•"/>
            </a:pPr>
            <a:r>
              <a:rPr lang="es-PE" sz="1000" dirty="0">
                <a:latin typeface="Poppins" panose="00000500000000000000" pitchFamily="2" charset="0"/>
                <a:ea typeface="Arial" panose="020B0604020202020204" pitchFamily="34" charset="0"/>
                <a:cs typeface="Poppins" panose="00000500000000000000" pitchFamily="2" charset="0"/>
              </a:rPr>
              <a:t>Participación en inspecciones planeadas y no planeadas. </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Cumpliendo con las herramientas de gestión en el día a día (IPERC continuo, PETAR, Permisos de Trabajo, entre otros)</a:t>
            </a:r>
          </a:p>
          <a:p>
            <a:pPr marL="715645" lvl="1" indent="-171450">
              <a:spcBef>
                <a:spcPts val="470"/>
              </a:spcBef>
              <a:buFont typeface="Arial" panose="020B0604020202020204" pitchFamily="34" charset="0"/>
              <a:buChar char="•"/>
            </a:pPr>
            <a:r>
              <a:rPr lang="es-PE" sz="1000" dirty="0">
                <a:effectLst/>
                <a:latin typeface="Poppins" panose="00000500000000000000" pitchFamily="2" charset="0"/>
                <a:ea typeface="Arial" panose="020B0604020202020204" pitchFamily="34" charset="0"/>
                <a:cs typeface="Poppins" panose="00000500000000000000" pitchFamily="2" charset="0"/>
              </a:rPr>
              <a:t>Reportando y participando en la investigación de incidentes. </a:t>
            </a:r>
            <a:endParaRPr lang="en-US" sz="1000" dirty="0">
              <a:effectLst/>
              <a:latin typeface="Poppins" panose="00000500000000000000" pitchFamily="2" charset="0"/>
              <a:ea typeface="Arial" panose="020B0604020202020204" pitchFamily="34" charset="0"/>
              <a:cs typeface="Poppins" panose="00000500000000000000" pitchFamily="2" charset="0"/>
            </a:endParaRPr>
          </a:p>
        </p:txBody>
      </p:sp>
    </p:spTree>
    <p:extLst>
      <p:ext uri="{BB962C8B-B14F-4D97-AF65-F5344CB8AC3E}">
        <p14:creationId xmlns:p14="http://schemas.microsoft.com/office/powerpoint/2010/main" val="1359036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2963252"/>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latin typeface="Abadi" panose="020B0604020104020204" pitchFamily="34" charset="0"/>
              </a:rPr>
              <a:t>IDENTIFICACIÓN DE PELIGROS Y RIESGOS DE SALUD Y SEGURIDAD</a:t>
            </a:r>
            <a:endParaRPr lang="en-US" altLang="en-US" sz="2800" dirty="0">
              <a:solidFill>
                <a:schemeClr val="bg1"/>
              </a:solidFill>
              <a:latin typeface="Abadi" panose="020B0604020104020204" pitchFamily="34" charset="0"/>
            </a:endParaRPr>
          </a:p>
        </p:txBody>
      </p:sp>
    </p:spTree>
    <p:extLst>
      <p:ext uri="{BB962C8B-B14F-4D97-AF65-F5344CB8AC3E}">
        <p14:creationId xmlns:p14="http://schemas.microsoft.com/office/powerpoint/2010/main" val="28275777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62E3A-6F6F-40E2-DB31-63C5CB7E15C1}"/>
              </a:ext>
            </a:extLst>
          </p:cNvPr>
          <p:cNvSpPr>
            <a:spLocks noGrp="1"/>
          </p:cNvSpPr>
          <p:nvPr>
            <p:ph type="title"/>
          </p:nvPr>
        </p:nvSpPr>
        <p:spPr>
          <a:xfrm>
            <a:off x="241143" y="325229"/>
            <a:ext cx="8779076" cy="607555"/>
          </a:xfrm>
        </p:spPr>
        <p:txBody>
          <a:bodyPr/>
          <a:lstStyle/>
          <a:p>
            <a:r>
              <a:rPr lang="es-PE" sz="2800" dirty="0"/>
              <a:t>Matriz de Gestión de Riesgos de Seguridad</a:t>
            </a:r>
            <a:endParaRPr lang="en-US" sz="2800" dirty="0"/>
          </a:p>
        </p:txBody>
      </p:sp>
      <p:sp>
        <p:nvSpPr>
          <p:cNvPr id="3" name="TextBox 2">
            <a:extLst>
              <a:ext uri="{FF2B5EF4-FFF2-40B4-BE49-F238E27FC236}">
                <a16:creationId xmlns:a16="http://schemas.microsoft.com/office/drawing/2014/main" id="{74D0E0AE-B9B1-0BF8-EDF7-BF0CF913BEC6}"/>
              </a:ext>
            </a:extLst>
          </p:cNvPr>
          <p:cNvSpPr txBox="1"/>
          <p:nvPr/>
        </p:nvSpPr>
        <p:spPr>
          <a:xfrm>
            <a:off x="707173" y="1343041"/>
            <a:ext cx="7878687" cy="282855"/>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dirty="0">
                <a:latin typeface="Poppins Medium" panose="020B0502040204020203" pitchFamily="2" charset="0"/>
                <a:cs typeface="Poppins Medium" panose="020B0502040204020203" pitchFamily="2" charset="0"/>
              </a:rPr>
              <a:t>¿Cómo identifica los peligros y riesgos de seguridad y cómo los controla?</a:t>
            </a:r>
          </a:p>
        </p:txBody>
      </p:sp>
      <p:sp>
        <p:nvSpPr>
          <p:cNvPr id="4" name="TextBox 3">
            <a:extLst>
              <a:ext uri="{FF2B5EF4-FFF2-40B4-BE49-F238E27FC236}">
                <a16:creationId xmlns:a16="http://schemas.microsoft.com/office/drawing/2014/main" id="{F7399CCC-8D9E-5666-BDD5-40954C7E86F2}"/>
              </a:ext>
            </a:extLst>
          </p:cNvPr>
          <p:cNvSpPr txBox="1"/>
          <p:nvPr/>
        </p:nvSpPr>
        <p:spPr>
          <a:xfrm>
            <a:off x="661244" y="1745672"/>
            <a:ext cx="9599822" cy="833562"/>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100" dirty="0">
                <a:latin typeface="Poppins" panose="00000500000000000000" pitchFamily="2" charset="0"/>
                <a:ea typeface="Arial" panose="020B0604020202020204" pitchFamily="34" charset="0"/>
                <a:cs typeface="Poppins" panose="00000500000000000000" pitchFamily="2" charset="0"/>
              </a:rPr>
              <a:t>Los peligros y riesgos de seguridad son determinados en la Matriz de Gestión de Riesgos de Seguridad de cada área y a partir de ahí, se identifican los peligros, se evalúan los riesgos y se establecen controles que se deben implementa durante las actividades. </a:t>
            </a:r>
          </a:p>
          <a:p>
            <a:pPr marL="258445" indent="-171450">
              <a:spcBef>
                <a:spcPts val="470"/>
              </a:spcBef>
              <a:buFont typeface="Wingdings" panose="05000000000000000000" pitchFamily="2" charset="2"/>
              <a:buChar char="è"/>
            </a:pPr>
            <a:r>
              <a:rPr lang="es-PE" sz="1100" dirty="0">
                <a:effectLst/>
                <a:latin typeface="Poppins" panose="00000500000000000000" pitchFamily="2" charset="0"/>
                <a:ea typeface="Arial" panose="020B0604020202020204" pitchFamily="34" charset="0"/>
                <a:cs typeface="Poppins" panose="00000500000000000000" pitchFamily="2" charset="0"/>
              </a:rPr>
              <a:t>Para evaluar los riesgos, se utiliza la Matriz de Evaluación de riesgos corporativa, con ella determinamos el nivel de riesgo y aplicamos las medidas de control, tomando en cuenta la jerarquía de controles. </a:t>
            </a:r>
            <a:endParaRPr lang="en-US" sz="1100" dirty="0">
              <a:effectLst/>
              <a:latin typeface="Poppins" panose="00000500000000000000" pitchFamily="2" charset="0"/>
              <a:ea typeface="Arial" panose="020B0604020202020204" pitchFamily="34" charset="0"/>
              <a:cs typeface="Poppins" panose="00000500000000000000" pitchFamily="2" charset="0"/>
            </a:endParaRPr>
          </a:p>
        </p:txBody>
      </p:sp>
      <p:pic>
        <p:nvPicPr>
          <p:cNvPr id="1026" name="Picture 2">
            <a:extLst>
              <a:ext uri="{FF2B5EF4-FFF2-40B4-BE49-F238E27FC236}">
                <a16:creationId xmlns:a16="http://schemas.microsoft.com/office/drawing/2014/main" id="{79F688E2-972B-6D6F-0B56-12954CDC5A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9" y="2579234"/>
            <a:ext cx="11975555" cy="427876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5A2937E8-AE9A-2DF2-876E-852954D160E4}"/>
              </a:ext>
            </a:extLst>
          </p:cNvPr>
          <p:cNvSpPr/>
          <p:nvPr/>
        </p:nvSpPr>
        <p:spPr>
          <a:xfrm>
            <a:off x="800100" y="3429001"/>
            <a:ext cx="965200"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400" dirty="0">
                <a:solidFill>
                  <a:schemeClr val="bg1"/>
                </a:solidFill>
                <a:latin typeface="Poppins Medium" panose="020B0502040204020203" pitchFamily="2" charset="0"/>
                <a:cs typeface="Poppins Medium" panose="020B0502040204020203" pitchFamily="2" charset="0"/>
              </a:rPr>
              <a:t>TAREAS</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8" name="Rectangle 7">
            <a:extLst>
              <a:ext uri="{FF2B5EF4-FFF2-40B4-BE49-F238E27FC236}">
                <a16:creationId xmlns:a16="http://schemas.microsoft.com/office/drawing/2014/main" id="{75A152DB-4393-4059-FA07-7A67A3994EDD}"/>
              </a:ext>
            </a:extLst>
          </p:cNvPr>
          <p:cNvSpPr/>
          <p:nvPr/>
        </p:nvSpPr>
        <p:spPr>
          <a:xfrm>
            <a:off x="2578088" y="3429001"/>
            <a:ext cx="1701811"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dirty="0">
                <a:solidFill>
                  <a:schemeClr val="bg1"/>
                </a:solidFill>
                <a:latin typeface="Poppins Medium" panose="020B0502040204020203" pitchFamily="2" charset="0"/>
                <a:cs typeface="Poppins Medium" panose="020B0502040204020203" pitchFamily="2" charset="0"/>
              </a:rPr>
              <a:t>PELIGROS </a:t>
            </a:r>
            <a:r>
              <a:rPr lang="es-PE" sz="1400">
                <a:solidFill>
                  <a:schemeClr val="bg1"/>
                </a:solidFill>
                <a:latin typeface="Poppins Medium" panose="020B0502040204020203" pitchFamily="2" charset="0"/>
                <a:cs typeface="Poppins Medium" panose="020B0502040204020203" pitchFamily="2" charset="0"/>
              </a:rPr>
              <a:t>Y RIESGOS</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9" name="Rectangle 8">
            <a:extLst>
              <a:ext uri="{FF2B5EF4-FFF2-40B4-BE49-F238E27FC236}">
                <a16:creationId xmlns:a16="http://schemas.microsoft.com/office/drawing/2014/main" id="{F19DCDC9-C40A-936C-4FE0-1E08D69BD5EF}"/>
              </a:ext>
            </a:extLst>
          </p:cNvPr>
          <p:cNvSpPr/>
          <p:nvPr/>
        </p:nvSpPr>
        <p:spPr>
          <a:xfrm>
            <a:off x="4646516" y="3429001"/>
            <a:ext cx="1701811"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dirty="0">
                <a:solidFill>
                  <a:schemeClr val="bg1"/>
                </a:solidFill>
                <a:latin typeface="Poppins Medium" panose="020B0502040204020203" pitchFamily="2" charset="0"/>
                <a:cs typeface="Poppins Medium" panose="020B0502040204020203" pitchFamily="2" charset="0"/>
              </a:rPr>
              <a:t>RIESGO INICIAL </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10" name="Rectangle 9">
            <a:extLst>
              <a:ext uri="{FF2B5EF4-FFF2-40B4-BE49-F238E27FC236}">
                <a16:creationId xmlns:a16="http://schemas.microsoft.com/office/drawing/2014/main" id="{6D4279C8-0124-8A47-5D2E-3DA9C08CF045}"/>
              </a:ext>
            </a:extLst>
          </p:cNvPr>
          <p:cNvSpPr/>
          <p:nvPr/>
        </p:nvSpPr>
        <p:spPr>
          <a:xfrm>
            <a:off x="7527732" y="3429001"/>
            <a:ext cx="1701811"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a:solidFill>
                  <a:schemeClr val="bg1"/>
                </a:solidFill>
                <a:latin typeface="Poppins Medium" panose="020B0502040204020203" pitchFamily="2" charset="0"/>
                <a:cs typeface="Poppins Medium" panose="020B0502040204020203" pitchFamily="2" charset="0"/>
              </a:rPr>
              <a:t>CONTROLES</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11" name="Rectangle 10">
            <a:extLst>
              <a:ext uri="{FF2B5EF4-FFF2-40B4-BE49-F238E27FC236}">
                <a16:creationId xmlns:a16="http://schemas.microsoft.com/office/drawing/2014/main" id="{B449445D-25E0-642D-EC4E-BA1082827A16}"/>
              </a:ext>
            </a:extLst>
          </p:cNvPr>
          <p:cNvSpPr/>
          <p:nvPr/>
        </p:nvSpPr>
        <p:spPr>
          <a:xfrm>
            <a:off x="9999852" y="3429001"/>
            <a:ext cx="1701811"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a:solidFill>
                  <a:schemeClr val="bg1"/>
                </a:solidFill>
                <a:latin typeface="Poppins Medium" panose="020B0502040204020203" pitchFamily="2" charset="0"/>
                <a:cs typeface="Poppins Medium" panose="020B0502040204020203" pitchFamily="2" charset="0"/>
              </a:rPr>
              <a:t>RIESGO RESIDUAL</a:t>
            </a:r>
            <a:endParaRPr lang="en-US" sz="1400" dirty="0">
              <a:solidFill>
                <a:schemeClr val="bg1"/>
              </a:solidFill>
              <a:latin typeface="Poppins Medium" panose="020B0502040204020203" pitchFamily="2" charset="0"/>
              <a:cs typeface="Poppins Medium" panose="020B0502040204020203" pitchFamily="2" charset="0"/>
            </a:endParaRPr>
          </a:p>
        </p:txBody>
      </p:sp>
    </p:spTree>
    <p:extLst>
      <p:ext uri="{BB962C8B-B14F-4D97-AF65-F5344CB8AC3E}">
        <p14:creationId xmlns:p14="http://schemas.microsoft.com/office/powerpoint/2010/main" val="3802081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62E3A-6F6F-40E2-DB31-63C5CB7E15C1}"/>
              </a:ext>
            </a:extLst>
          </p:cNvPr>
          <p:cNvSpPr>
            <a:spLocks noGrp="1"/>
          </p:cNvSpPr>
          <p:nvPr>
            <p:ph type="title"/>
          </p:nvPr>
        </p:nvSpPr>
        <p:spPr>
          <a:xfrm>
            <a:off x="241143" y="325229"/>
            <a:ext cx="8779076" cy="607555"/>
          </a:xfrm>
        </p:spPr>
        <p:txBody>
          <a:bodyPr/>
          <a:lstStyle/>
          <a:p>
            <a:r>
              <a:rPr lang="es-PE" sz="2800" dirty="0"/>
              <a:t>Matriz de Gestión de Riesgos de Salud Ocupacional</a:t>
            </a:r>
            <a:endParaRPr lang="en-US" sz="2800" dirty="0"/>
          </a:p>
        </p:txBody>
      </p:sp>
      <p:sp>
        <p:nvSpPr>
          <p:cNvPr id="3" name="TextBox 2">
            <a:extLst>
              <a:ext uri="{FF2B5EF4-FFF2-40B4-BE49-F238E27FC236}">
                <a16:creationId xmlns:a16="http://schemas.microsoft.com/office/drawing/2014/main" id="{74D0E0AE-B9B1-0BF8-EDF7-BF0CF913BEC6}"/>
              </a:ext>
            </a:extLst>
          </p:cNvPr>
          <p:cNvSpPr txBox="1"/>
          <p:nvPr/>
        </p:nvSpPr>
        <p:spPr>
          <a:xfrm>
            <a:off x="707173" y="1380236"/>
            <a:ext cx="8612673"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dirty="0">
                <a:latin typeface="Poppins Medium" panose="020B0502040204020203" pitchFamily="2" charset="0"/>
                <a:cs typeface="Poppins Medium" panose="020B0502040204020203" pitchFamily="2" charset="0"/>
              </a:rPr>
              <a:t>¿Cómo identifica los peligros y riesgos de salud ocupacional y cómo los controla?</a:t>
            </a:r>
          </a:p>
        </p:txBody>
      </p:sp>
      <p:sp>
        <p:nvSpPr>
          <p:cNvPr id="4" name="TextBox 3">
            <a:extLst>
              <a:ext uri="{FF2B5EF4-FFF2-40B4-BE49-F238E27FC236}">
                <a16:creationId xmlns:a16="http://schemas.microsoft.com/office/drawing/2014/main" id="{F7399CCC-8D9E-5666-BDD5-40954C7E86F2}"/>
              </a:ext>
            </a:extLst>
          </p:cNvPr>
          <p:cNvSpPr txBox="1"/>
          <p:nvPr/>
        </p:nvSpPr>
        <p:spPr>
          <a:xfrm>
            <a:off x="661244" y="1782866"/>
            <a:ext cx="9599822" cy="664284"/>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100" dirty="0">
                <a:latin typeface="Poppins" panose="00000500000000000000" pitchFamily="2" charset="0"/>
                <a:ea typeface="Arial" panose="020B0604020202020204" pitchFamily="34" charset="0"/>
                <a:cs typeface="Poppins" panose="00000500000000000000" pitchFamily="2" charset="0"/>
              </a:rPr>
              <a:t>Los peligros y riesgos de salud ocupacional se identifican a través de la matriz de identificación de Peligros y Evaluación de Riesgos a la Salud Ocupacional de cada área por cada puesto de trabajo. </a:t>
            </a:r>
          </a:p>
          <a:p>
            <a:pPr marL="258445" indent="-171450">
              <a:spcBef>
                <a:spcPts val="470"/>
              </a:spcBef>
              <a:buFont typeface="Wingdings" panose="05000000000000000000" pitchFamily="2" charset="2"/>
              <a:buChar char="è"/>
            </a:pPr>
            <a:r>
              <a:rPr lang="es-PE" sz="1100" dirty="0">
                <a:effectLst/>
                <a:latin typeface="Poppins" panose="00000500000000000000" pitchFamily="2" charset="0"/>
                <a:ea typeface="Arial" panose="020B0604020202020204" pitchFamily="34" charset="0"/>
                <a:cs typeface="Poppins" panose="00000500000000000000" pitchFamily="2" charset="0"/>
              </a:rPr>
              <a:t>Cada gerencia del área debe establecer controles según el nivel de riesgo identificado. </a:t>
            </a:r>
            <a:endParaRPr lang="en-US" sz="1100" dirty="0">
              <a:effectLst/>
              <a:latin typeface="Poppins" panose="00000500000000000000" pitchFamily="2" charset="0"/>
              <a:ea typeface="Arial" panose="020B0604020202020204" pitchFamily="34" charset="0"/>
              <a:cs typeface="Poppins" panose="00000500000000000000" pitchFamily="2" charset="0"/>
            </a:endParaRPr>
          </a:p>
        </p:txBody>
      </p:sp>
      <p:pic>
        <p:nvPicPr>
          <p:cNvPr id="5" name="Picture 4">
            <a:extLst>
              <a:ext uri="{FF2B5EF4-FFF2-40B4-BE49-F238E27FC236}">
                <a16:creationId xmlns:a16="http://schemas.microsoft.com/office/drawing/2014/main" id="{C5DF6C01-6B3B-E8CE-AD3B-F220E3C964C1}"/>
              </a:ext>
            </a:extLst>
          </p:cNvPr>
          <p:cNvPicPr>
            <a:picLocks noChangeAspect="1"/>
          </p:cNvPicPr>
          <p:nvPr/>
        </p:nvPicPr>
        <p:blipFill rotWithShape="1">
          <a:blip r:embed="rId2"/>
          <a:srcRect t="24550"/>
          <a:stretch/>
        </p:blipFill>
        <p:spPr>
          <a:xfrm>
            <a:off x="2076500" y="3169162"/>
            <a:ext cx="8039000" cy="3594308"/>
          </a:xfrm>
          <a:prstGeom prst="rect">
            <a:avLst/>
          </a:prstGeom>
        </p:spPr>
      </p:pic>
      <p:sp>
        <p:nvSpPr>
          <p:cNvPr id="8" name="Rectangle 7">
            <a:extLst>
              <a:ext uri="{FF2B5EF4-FFF2-40B4-BE49-F238E27FC236}">
                <a16:creationId xmlns:a16="http://schemas.microsoft.com/office/drawing/2014/main" id="{434FEEFF-D4A3-97F3-4E0A-55E2F702AFAB}"/>
              </a:ext>
            </a:extLst>
          </p:cNvPr>
          <p:cNvSpPr/>
          <p:nvPr/>
        </p:nvSpPr>
        <p:spPr>
          <a:xfrm>
            <a:off x="6850454" y="2672888"/>
            <a:ext cx="1701811"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dirty="0">
                <a:solidFill>
                  <a:schemeClr val="bg1"/>
                </a:solidFill>
                <a:latin typeface="Poppins Medium" panose="020B0502040204020203" pitchFamily="2" charset="0"/>
                <a:cs typeface="Poppins Medium" panose="020B0502040204020203" pitchFamily="2" charset="0"/>
              </a:rPr>
              <a:t>CONTROLES</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9" name="Rectangle 8">
            <a:extLst>
              <a:ext uri="{FF2B5EF4-FFF2-40B4-BE49-F238E27FC236}">
                <a16:creationId xmlns:a16="http://schemas.microsoft.com/office/drawing/2014/main" id="{ED7EF54C-3CFA-48BC-4623-9C43C4D7185F}"/>
              </a:ext>
            </a:extLst>
          </p:cNvPr>
          <p:cNvSpPr/>
          <p:nvPr/>
        </p:nvSpPr>
        <p:spPr>
          <a:xfrm>
            <a:off x="8874505" y="2672888"/>
            <a:ext cx="1066664"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a:solidFill>
                  <a:schemeClr val="bg1"/>
                </a:solidFill>
                <a:latin typeface="Poppins Medium" panose="020B0502040204020203" pitchFamily="2" charset="0"/>
                <a:cs typeface="Poppins Medium" panose="020B0502040204020203" pitchFamily="2" charset="0"/>
              </a:rPr>
              <a:t>RIESGO RESIDUAL</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10" name="Rectangle 9">
            <a:extLst>
              <a:ext uri="{FF2B5EF4-FFF2-40B4-BE49-F238E27FC236}">
                <a16:creationId xmlns:a16="http://schemas.microsoft.com/office/drawing/2014/main" id="{2D578DCB-637F-4F40-B2D1-D737034DCD8F}"/>
              </a:ext>
            </a:extLst>
          </p:cNvPr>
          <p:cNvSpPr/>
          <p:nvPr/>
        </p:nvSpPr>
        <p:spPr>
          <a:xfrm>
            <a:off x="5650522" y="2672888"/>
            <a:ext cx="901137"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300" dirty="0">
                <a:solidFill>
                  <a:schemeClr val="bg1"/>
                </a:solidFill>
                <a:latin typeface="Poppins Medium" panose="020B0502040204020203" pitchFamily="2" charset="0"/>
                <a:cs typeface="Poppins Medium" panose="020B0502040204020203" pitchFamily="2" charset="0"/>
              </a:rPr>
              <a:t>RIESGO PURO </a:t>
            </a:r>
            <a:endParaRPr lang="en-US" sz="1300" dirty="0">
              <a:solidFill>
                <a:schemeClr val="bg1"/>
              </a:solidFill>
              <a:latin typeface="Poppins Medium" panose="020B0502040204020203" pitchFamily="2" charset="0"/>
              <a:cs typeface="Poppins Medium" panose="020B0502040204020203" pitchFamily="2" charset="0"/>
            </a:endParaRPr>
          </a:p>
        </p:txBody>
      </p:sp>
      <p:sp>
        <p:nvSpPr>
          <p:cNvPr id="11" name="Rectangle 10">
            <a:extLst>
              <a:ext uri="{FF2B5EF4-FFF2-40B4-BE49-F238E27FC236}">
                <a16:creationId xmlns:a16="http://schemas.microsoft.com/office/drawing/2014/main" id="{2B41AE65-E746-2626-3825-56717FAAA98C}"/>
              </a:ext>
            </a:extLst>
          </p:cNvPr>
          <p:cNvSpPr/>
          <p:nvPr/>
        </p:nvSpPr>
        <p:spPr>
          <a:xfrm>
            <a:off x="2788003" y="2678772"/>
            <a:ext cx="1325104"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400" dirty="0">
                <a:solidFill>
                  <a:schemeClr val="bg1"/>
                </a:solidFill>
                <a:latin typeface="Poppins Medium" panose="020B0502040204020203" pitchFamily="2" charset="0"/>
                <a:cs typeface="Poppins Medium" panose="020B0502040204020203" pitchFamily="2" charset="0"/>
              </a:rPr>
              <a:t>PUESTO DE TRABAJO</a:t>
            </a:r>
            <a:endParaRPr lang="en-US" sz="1400" dirty="0">
              <a:solidFill>
                <a:schemeClr val="bg1"/>
              </a:solidFill>
              <a:latin typeface="Poppins Medium" panose="020B0502040204020203" pitchFamily="2" charset="0"/>
              <a:cs typeface="Poppins Medium" panose="020B0502040204020203" pitchFamily="2" charset="0"/>
            </a:endParaRPr>
          </a:p>
        </p:txBody>
      </p:sp>
      <p:sp>
        <p:nvSpPr>
          <p:cNvPr id="16" name="Rectangle 15">
            <a:extLst>
              <a:ext uri="{FF2B5EF4-FFF2-40B4-BE49-F238E27FC236}">
                <a16:creationId xmlns:a16="http://schemas.microsoft.com/office/drawing/2014/main" id="{30796944-917C-9A5E-920B-FF2145B40349}"/>
              </a:ext>
            </a:extLst>
          </p:cNvPr>
          <p:cNvSpPr/>
          <p:nvPr/>
        </p:nvSpPr>
        <p:spPr>
          <a:xfrm>
            <a:off x="4505687" y="2688518"/>
            <a:ext cx="1062774" cy="431798"/>
          </a:xfrm>
          <a:prstGeom prst="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300" dirty="0">
                <a:solidFill>
                  <a:schemeClr val="bg1"/>
                </a:solidFill>
                <a:latin typeface="Poppins Medium" panose="020B0502040204020203" pitchFamily="2" charset="0"/>
                <a:cs typeface="Poppins Medium" panose="020B0502040204020203" pitchFamily="2" charset="0"/>
              </a:rPr>
              <a:t>PELIGROS Y RIESGOS</a:t>
            </a:r>
            <a:endParaRPr lang="en-US" sz="1300" dirty="0">
              <a:solidFill>
                <a:schemeClr val="bg1"/>
              </a:solidFill>
              <a:latin typeface="Poppins Medium" panose="020B0502040204020203" pitchFamily="2" charset="0"/>
              <a:cs typeface="Poppins Medium" panose="020B0502040204020203" pitchFamily="2" charset="0"/>
            </a:endParaRPr>
          </a:p>
        </p:txBody>
      </p:sp>
    </p:spTree>
    <p:extLst>
      <p:ext uri="{BB962C8B-B14F-4D97-AF65-F5344CB8AC3E}">
        <p14:creationId xmlns:p14="http://schemas.microsoft.com/office/powerpoint/2010/main" val="24448442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C14D2-6B44-FEF1-E6B6-6C10BDC733E5}"/>
              </a:ext>
            </a:extLst>
          </p:cNvPr>
          <p:cNvSpPr>
            <a:spLocks noGrp="1"/>
          </p:cNvSpPr>
          <p:nvPr>
            <p:ph type="title"/>
          </p:nvPr>
        </p:nvSpPr>
        <p:spPr/>
        <p:txBody>
          <a:bodyPr/>
          <a:lstStyle/>
          <a:p>
            <a:r>
              <a:rPr lang="es-PE" dirty="0"/>
              <a:t>Jerarquía de Controles</a:t>
            </a:r>
            <a:endParaRPr lang="en-US" dirty="0"/>
          </a:p>
        </p:txBody>
      </p:sp>
      <p:sp>
        <p:nvSpPr>
          <p:cNvPr id="3" name="TextBox 2">
            <a:extLst>
              <a:ext uri="{FF2B5EF4-FFF2-40B4-BE49-F238E27FC236}">
                <a16:creationId xmlns:a16="http://schemas.microsoft.com/office/drawing/2014/main" id="{4C4E43B5-37C9-B768-F517-A53BC84F70BF}"/>
              </a:ext>
            </a:extLst>
          </p:cNvPr>
          <p:cNvSpPr txBox="1"/>
          <p:nvPr/>
        </p:nvSpPr>
        <p:spPr>
          <a:xfrm>
            <a:off x="0" y="1812502"/>
            <a:ext cx="7762865" cy="4785926"/>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400" dirty="0">
                <a:effectLst/>
                <a:latin typeface="Poppins" panose="00000500000000000000" pitchFamily="2" charset="0"/>
                <a:ea typeface="Arial" panose="020B0604020202020204" pitchFamily="34" charset="0"/>
                <a:cs typeface="Poppins" panose="00000500000000000000" pitchFamily="2" charset="0"/>
              </a:rPr>
              <a:t>Para determinar los controles, se deben tener en cuenta desde los controles más efectivos (eliminación) hasta los menos efectivos (uso de EPP). La jerarquía siguiente describe en detalle cada uno de los grupos de control: </a:t>
            </a:r>
          </a:p>
          <a:p>
            <a:pPr marL="715645" lvl="1" indent="-171450">
              <a:spcBef>
                <a:spcPts val="470"/>
              </a:spcBef>
              <a:buFont typeface="Arial" panose="020B0604020202020204" pitchFamily="34" charset="0"/>
              <a:buChar char="•"/>
            </a:pPr>
            <a:r>
              <a:rPr lang="es-PE" sz="1400" b="1" dirty="0">
                <a:solidFill>
                  <a:srgbClr val="D3772B"/>
                </a:solidFill>
                <a:latin typeface="Poppins" panose="00000500000000000000" pitchFamily="2" charset="0"/>
                <a:ea typeface="Arial" panose="020B0604020202020204" pitchFamily="34" charset="0"/>
                <a:cs typeface="Poppins" panose="00000500000000000000" pitchFamily="2" charset="0"/>
              </a:rPr>
              <a:t>ELIMINACIÓN</a:t>
            </a:r>
            <a:r>
              <a:rPr lang="es-PE" sz="1400" dirty="0">
                <a:latin typeface="Poppins" panose="00000500000000000000" pitchFamily="2" charset="0"/>
                <a:ea typeface="Arial" panose="020B0604020202020204" pitchFamily="34" charset="0"/>
                <a:cs typeface="Poppins" panose="00000500000000000000" pitchFamily="2" charset="0"/>
              </a:rPr>
              <a:t>: modificación o cambio de maquinaria, equipo, herramientas o incluso los métodos de trabajo que permiten eliminar un peligro. </a:t>
            </a:r>
          </a:p>
          <a:p>
            <a:pPr marL="715645" lvl="1" indent="-171450">
              <a:spcBef>
                <a:spcPts val="470"/>
              </a:spcBef>
              <a:buFont typeface="Arial" panose="020B0604020202020204" pitchFamily="34" charset="0"/>
              <a:buChar char="•"/>
            </a:pPr>
            <a:r>
              <a:rPr lang="es-PE" sz="1400" b="1" dirty="0">
                <a:solidFill>
                  <a:srgbClr val="D3772B"/>
                </a:solidFill>
                <a:effectLst/>
                <a:latin typeface="Poppins" panose="00000500000000000000" pitchFamily="2" charset="0"/>
                <a:ea typeface="Arial" panose="020B0604020202020204" pitchFamily="34" charset="0"/>
                <a:cs typeface="Poppins" panose="00000500000000000000" pitchFamily="2" charset="0"/>
              </a:rPr>
              <a:t>SUSTITUCIÓN: </a:t>
            </a:r>
            <a:r>
              <a:rPr lang="es-PE" sz="1400" dirty="0">
                <a:effectLst/>
                <a:latin typeface="Poppins" panose="00000500000000000000" pitchFamily="2" charset="0"/>
                <a:ea typeface="Arial" panose="020B0604020202020204" pitchFamily="34" charset="0"/>
                <a:cs typeface="Poppins" panose="00000500000000000000" pitchFamily="2" charset="0"/>
              </a:rPr>
              <a:t>cambio de materiales por otros de </a:t>
            </a:r>
            <a:r>
              <a:rPr lang="es-PE" sz="1400" dirty="0">
                <a:latin typeface="Poppins" panose="00000500000000000000" pitchFamily="2" charset="0"/>
                <a:ea typeface="Arial" panose="020B0604020202020204" pitchFamily="34" charset="0"/>
                <a:cs typeface="Poppins" panose="00000500000000000000" pitchFamily="2" charset="0"/>
              </a:rPr>
              <a:t>menor peligro, reducción de la energía de los sistemas de trabajo (mecánica, eléctrica, potencial, etc.)</a:t>
            </a:r>
          </a:p>
          <a:p>
            <a:pPr marL="715645" lvl="1" indent="-171450">
              <a:spcBef>
                <a:spcPts val="470"/>
              </a:spcBef>
              <a:buFont typeface="Arial" panose="020B0604020202020204" pitchFamily="34" charset="0"/>
              <a:buChar char="•"/>
            </a:pPr>
            <a:r>
              <a:rPr lang="es-PE" sz="1400" b="1" dirty="0">
                <a:solidFill>
                  <a:srgbClr val="D3772B"/>
                </a:solidFill>
                <a:effectLst/>
                <a:latin typeface="Poppins" panose="00000500000000000000" pitchFamily="2" charset="0"/>
                <a:ea typeface="Arial" panose="020B0604020202020204" pitchFamily="34" charset="0"/>
                <a:cs typeface="Poppins" panose="00000500000000000000" pitchFamily="2" charset="0"/>
              </a:rPr>
              <a:t>CONTROLES DE </a:t>
            </a:r>
            <a:r>
              <a:rPr lang="es-PE" sz="1400" b="1" dirty="0">
                <a:solidFill>
                  <a:srgbClr val="D3772B"/>
                </a:solidFill>
                <a:latin typeface="Poppins" panose="00000500000000000000" pitchFamily="2" charset="0"/>
                <a:ea typeface="Arial" panose="020B0604020202020204" pitchFamily="34" charset="0"/>
                <a:cs typeface="Poppins" panose="00000500000000000000" pitchFamily="2" charset="0"/>
              </a:rPr>
              <a:t>INGENIERÍA</a:t>
            </a:r>
            <a:r>
              <a:rPr lang="es-PE" sz="1400" dirty="0">
                <a:latin typeface="Poppins" panose="00000500000000000000" pitchFamily="2" charset="0"/>
                <a:ea typeface="Arial" panose="020B0604020202020204" pitchFamily="34" charset="0"/>
                <a:cs typeface="Poppins" panose="00000500000000000000" pitchFamily="2" charset="0"/>
              </a:rPr>
              <a:t>: aislamiento de la fuente, protecciones de maquinaria, guardas, insonorización, ventilación; sin afectar el diseño original. </a:t>
            </a:r>
          </a:p>
          <a:p>
            <a:pPr marL="715645" lvl="1" indent="-171450">
              <a:spcBef>
                <a:spcPts val="470"/>
              </a:spcBef>
              <a:buFont typeface="Arial" panose="020B0604020202020204" pitchFamily="34" charset="0"/>
              <a:buChar char="•"/>
            </a:pPr>
            <a:r>
              <a:rPr lang="es-PE" sz="1400" b="1" dirty="0">
                <a:solidFill>
                  <a:srgbClr val="D3772B"/>
                </a:solidFill>
                <a:effectLst/>
                <a:latin typeface="Poppins" panose="00000500000000000000" pitchFamily="2" charset="0"/>
                <a:ea typeface="Arial" panose="020B0604020202020204" pitchFamily="34" charset="0"/>
                <a:cs typeface="Poppins" panose="00000500000000000000" pitchFamily="2" charset="0"/>
              </a:rPr>
              <a:t>CONTROLES ADMINISTRATIVOS</a:t>
            </a:r>
            <a:r>
              <a:rPr lang="es-PE" sz="1400" dirty="0">
                <a:effectLst/>
                <a:latin typeface="Poppins" panose="00000500000000000000" pitchFamily="2" charset="0"/>
                <a:ea typeface="Arial" panose="020B0604020202020204" pitchFamily="34" charset="0"/>
                <a:cs typeface="Poppins" panose="00000500000000000000" pitchFamily="2" charset="0"/>
              </a:rPr>
              <a:t>: políticas, reglamentos, estándares, PETS entre otros documentos que complementan a lo establecido en los procedimientos de las tareas. Asimismo, se consideran a los permisos de trabajo, inspecciones, capacitación, entrenamiento, sensibilización, programas de mantenimiento, etc. </a:t>
            </a:r>
          </a:p>
          <a:p>
            <a:pPr marL="715645" lvl="1" indent="-171450">
              <a:spcBef>
                <a:spcPts val="470"/>
              </a:spcBef>
              <a:buFont typeface="Arial" panose="020B0604020202020204" pitchFamily="34" charset="0"/>
              <a:buChar char="•"/>
            </a:pPr>
            <a:r>
              <a:rPr lang="es-PE" sz="1400" b="1" dirty="0">
                <a:solidFill>
                  <a:srgbClr val="D3772B"/>
                </a:solidFill>
                <a:effectLst/>
                <a:latin typeface="Poppins" panose="00000500000000000000" pitchFamily="2" charset="0"/>
                <a:ea typeface="Arial" panose="020B0604020202020204" pitchFamily="34" charset="0"/>
                <a:cs typeface="Poppins" panose="00000500000000000000" pitchFamily="2" charset="0"/>
              </a:rPr>
              <a:t>SE</a:t>
            </a:r>
            <a:r>
              <a:rPr lang="es-PE" sz="1400" b="1" dirty="0">
                <a:solidFill>
                  <a:srgbClr val="D3772B"/>
                </a:solidFill>
                <a:latin typeface="Poppins" panose="00000500000000000000" pitchFamily="2" charset="0"/>
                <a:ea typeface="Arial" panose="020B0604020202020204" pitchFamily="34" charset="0"/>
                <a:cs typeface="Poppins" panose="00000500000000000000" pitchFamily="2" charset="0"/>
              </a:rPr>
              <a:t>ÑALIZACIÓN / ADVERTENCIAS: </a:t>
            </a:r>
            <a:r>
              <a:rPr lang="es-PE" sz="1400" dirty="0">
                <a:latin typeface="Poppins" panose="00000500000000000000" pitchFamily="2" charset="0"/>
                <a:ea typeface="Arial" panose="020B0604020202020204" pitchFamily="34" charset="0"/>
                <a:cs typeface="Poppins" panose="00000500000000000000" pitchFamily="2" charset="0"/>
              </a:rPr>
              <a:t>señales, alarmas, sirenas, luces o cualquier otro elemento que avise o que indique la presencia de peligros y riesgos. </a:t>
            </a:r>
          </a:p>
          <a:p>
            <a:pPr marL="715645" lvl="1" indent="-171450">
              <a:spcBef>
                <a:spcPts val="470"/>
              </a:spcBef>
              <a:buFont typeface="Arial" panose="020B0604020202020204" pitchFamily="34" charset="0"/>
              <a:buChar char="•"/>
            </a:pPr>
            <a:r>
              <a:rPr lang="es-PE" sz="1400" b="1" dirty="0">
                <a:solidFill>
                  <a:srgbClr val="D3772B"/>
                </a:solidFill>
                <a:effectLst/>
                <a:latin typeface="Poppins" panose="00000500000000000000" pitchFamily="2" charset="0"/>
                <a:ea typeface="Arial" panose="020B0604020202020204" pitchFamily="34" charset="0"/>
                <a:cs typeface="Poppins" panose="00000500000000000000" pitchFamily="2" charset="0"/>
              </a:rPr>
              <a:t>EQUIPO DE PROTECCIÓN PERSONAL (EPP): </a:t>
            </a:r>
            <a:r>
              <a:rPr lang="es-PE" sz="1400" dirty="0">
                <a:effectLst/>
                <a:latin typeface="Poppins" panose="00000500000000000000" pitchFamily="2" charset="0"/>
                <a:ea typeface="Arial" panose="020B0604020202020204" pitchFamily="34" charset="0"/>
                <a:cs typeface="Poppins" panose="00000500000000000000" pitchFamily="2" charset="0"/>
              </a:rPr>
              <a:t>básico o específico, dependiendo del tipo de tarea que se vaya a realizar. </a:t>
            </a:r>
            <a:endParaRPr lang="en-US" sz="1400" dirty="0">
              <a:effectLst/>
              <a:latin typeface="Poppins" panose="00000500000000000000" pitchFamily="2" charset="0"/>
              <a:ea typeface="Arial" panose="020B0604020202020204" pitchFamily="34" charset="0"/>
              <a:cs typeface="Poppins" panose="00000500000000000000" pitchFamily="2" charset="0"/>
            </a:endParaRPr>
          </a:p>
        </p:txBody>
      </p:sp>
      <p:sp>
        <p:nvSpPr>
          <p:cNvPr id="4" name="TextBox 3">
            <a:extLst>
              <a:ext uri="{FF2B5EF4-FFF2-40B4-BE49-F238E27FC236}">
                <a16:creationId xmlns:a16="http://schemas.microsoft.com/office/drawing/2014/main" id="{AE673608-CD3A-B3DD-6B29-8130EA928DEC}"/>
              </a:ext>
            </a:extLst>
          </p:cNvPr>
          <p:cNvSpPr txBox="1"/>
          <p:nvPr/>
        </p:nvSpPr>
        <p:spPr>
          <a:xfrm>
            <a:off x="174635" y="1401523"/>
            <a:ext cx="4744144"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dirty="0">
                <a:latin typeface="Poppins Medium" panose="020B0502040204020203" pitchFamily="2" charset="0"/>
                <a:cs typeface="Poppins Medium" panose="020B0502040204020203" pitchFamily="2" charset="0"/>
              </a:rPr>
              <a:t>¿En qué consiste la Jerarquía de Controles?</a:t>
            </a:r>
          </a:p>
        </p:txBody>
      </p:sp>
      <p:pic>
        <p:nvPicPr>
          <p:cNvPr id="2050" name="Picture 2">
            <a:extLst>
              <a:ext uri="{FF2B5EF4-FFF2-40B4-BE49-F238E27FC236}">
                <a16:creationId xmlns:a16="http://schemas.microsoft.com/office/drawing/2014/main" id="{0C60E837-8D83-6027-A86D-8CB072E1903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407"/>
          <a:stretch/>
        </p:blipFill>
        <p:spPr bwMode="auto">
          <a:xfrm>
            <a:off x="7950199" y="2281238"/>
            <a:ext cx="4117965" cy="2981325"/>
          </a:xfrm>
          <a:prstGeom prst="rect">
            <a:avLst/>
          </a:prstGeom>
          <a:noFill/>
          <a:ln>
            <a:solidFill>
              <a:srgbClr val="C68B69"/>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5429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2963252"/>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latin typeface="Abadi" panose="020B0604020104020204" pitchFamily="34" charset="0"/>
              </a:rPr>
              <a:t>MAPA DE RIESGOS</a:t>
            </a:r>
            <a:endParaRPr lang="en-US" altLang="en-US" sz="2800" dirty="0">
              <a:solidFill>
                <a:schemeClr val="bg1"/>
              </a:solidFill>
              <a:latin typeface="Abadi" panose="020B0604020104020204" pitchFamily="34" charset="0"/>
            </a:endParaRPr>
          </a:p>
        </p:txBody>
      </p:sp>
    </p:spTree>
    <p:extLst>
      <p:ext uri="{BB962C8B-B14F-4D97-AF65-F5344CB8AC3E}">
        <p14:creationId xmlns:p14="http://schemas.microsoft.com/office/powerpoint/2010/main" val="3769763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E7BDFE-E20C-96BF-81B8-7DF6BC32BA32}"/>
              </a:ext>
            </a:extLst>
          </p:cNvPr>
          <p:cNvSpPr/>
          <p:nvPr/>
        </p:nvSpPr>
        <p:spPr>
          <a:xfrm>
            <a:off x="6833200" y="3358276"/>
            <a:ext cx="4583369" cy="1054446"/>
          </a:xfrm>
          <a:prstGeom prst="rect">
            <a:avLst/>
          </a:prstGeom>
          <a:noFill/>
          <a:ln w="28575">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FE1E12C-0FD2-443C-A03C-453102141233}"/>
              </a:ext>
            </a:extLst>
          </p:cNvPr>
          <p:cNvSpPr/>
          <p:nvPr/>
        </p:nvSpPr>
        <p:spPr>
          <a:xfrm>
            <a:off x="479197" y="1377278"/>
            <a:ext cx="5042829" cy="1555774"/>
          </a:xfrm>
          <a:prstGeom prst="rect">
            <a:avLst/>
          </a:prstGeom>
          <a:noFill/>
          <a:ln w="28575">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7203FEB-774E-CE1C-63F3-6810A1C7D522}"/>
              </a:ext>
            </a:extLst>
          </p:cNvPr>
          <p:cNvSpPr/>
          <p:nvPr/>
        </p:nvSpPr>
        <p:spPr>
          <a:xfrm>
            <a:off x="7162800" y="5332957"/>
            <a:ext cx="4029693" cy="801607"/>
          </a:xfrm>
          <a:prstGeom prst="rect">
            <a:avLst/>
          </a:prstGeom>
          <a:noFill/>
          <a:ln w="28575">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C9B169B-90BB-3598-DA1B-8B35A7A90AC4}"/>
              </a:ext>
            </a:extLst>
          </p:cNvPr>
          <p:cNvSpPr>
            <a:spLocks noGrp="1"/>
          </p:cNvSpPr>
          <p:nvPr>
            <p:ph type="title"/>
          </p:nvPr>
        </p:nvSpPr>
        <p:spPr/>
        <p:txBody>
          <a:bodyPr/>
          <a:lstStyle/>
          <a:p>
            <a:r>
              <a:rPr lang="es-PE" dirty="0"/>
              <a:t>MAPA DE RIESGOS</a:t>
            </a:r>
            <a:endParaRPr lang="en-US" dirty="0"/>
          </a:p>
        </p:txBody>
      </p:sp>
      <p:sp>
        <p:nvSpPr>
          <p:cNvPr id="3" name="TextBox 2">
            <a:extLst>
              <a:ext uri="{FF2B5EF4-FFF2-40B4-BE49-F238E27FC236}">
                <a16:creationId xmlns:a16="http://schemas.microsoft.com/office/drawing/2014/main" id="{3615F520-0A72-3794-7A11-5E6C89ECC92F}"/>
              </a:ext>
            </a:extLst>
          </p:cNvPr>
          <p:cNvSpPr txBox="1"/>
          <p:nvPr/>
        </p:nvSpPr>
        <p:spPr>
          <a:xfrm>
            <a:off x="1575944" y="1258851"/>
            <a:ext cx="2534593" cy="273791"/>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dirty="0">
                <a:latin typeface="Poppins Medium" panose="020B0502040204020203" pitchFamily="2" charset="0"/>
                <a:cs typeface="Poppins Medium" panose="020B0502040204020203" pitchFamily="2" charset="0"/>
              </a:rPr>
              <a:t>¿Qué es el mapa de Riesgos?</a:t>
            </a:r>
          </a:p>
        </p:txBody>
      </p:sp>
      <p:sp>
        <p:nvSpPr>
          <p:cNvPr id="4" name="TextBox 3">
            <a:extLst>
              <a:ext uri="{FF2B5EF4-FFF2-40B4-BE49-F238E27FC236}">
                <a16:creationId xmlns:a16="http://schemas.microsoft.com/office/drawing/2014/main" id="{6F9F6C5C-34EA-65FF-35D4-CB37E56F5D08}"/>
              </a:ext>
            </a:extLst>
          </p:cNvPr>
          <p:cNvSpPr txBox="1"/>
          <p:nvPr/>
        </p:nvSpPr>
        <p:spPr>
          <a:xfrm>
            <a:off x="479197" y="1591658"/>
            <a:ext cx="5042828" cy="1341393"/>
          </a:xfrm>
          <a:prstGeom prst="rect">
            <a:avLst/>
          </a:prstGeom>
          <a:noFill/>
        </p:spPr>
        <p:txBody>
          <a:bodyPr wrap="square">
            <a:spAutoFit/>
          </a:bodyPr>
          <a:lstStyle/>
          <a:p>
            <a:pPr marL="86995">
              <a:spcBef>
                <a:spcPts val="470"/>
              </a:spcBef>
            </a:pPr>
            <a:r>
              <a:rPr lang="es-PE" sz="1100" dirty="0">
                <a:effectLst/>
                <a:latin typeface="Poppins" panose="00000500000000000000" pitchFamily="2" charset="0"/>
                <a:ea typeface="Arial" panose="020B0604020202020204" pitchFamily="34" charset="0"/>
                <a:cs typeface="Poppins" panose="00000500000000000000" pitchFamily="2" charset="0"/>
              </a:rPr>
              <a:t>Es un plano de las condiciones de trabajo, es una herramienta participativa, preventiva y necesaria para llevar a cabo las actividades de localizar y representar en forma gráfica, los agentes generadores de riesgos que ocasionan accidentes, incidentes peligrosos, otros incidentes, enfermedades ocupacionales en el trabajo. </a:t>
            </a:r>
            <a:endParaRPr lang="es-PE" sz="1100" dirty="0">
              <a:latin typeface="Poppins" panose="00000500000000000000" pitchFamily="2" charset="0"/>
              <a:ea typeface="Arial" panose="020B0604020202020204" pitchFamily="34" charset="0"/>
              <a:cs typeface="Poppins" panose="00000500000000000000" pitchFamily="2" charset="0"/>
            </a:endParaRPr>
          </a:p>
          <a:p>
            <a:pPr marL="86995">
              <a:spcBef>
                <a:spcPts val="470"/>
              </a:spcBef>
            </a:pPr>
            <a:r>
              <a:rPr lang="es-PE" sz="1100" dirty="0">
                <a:effectLst/>
                <a:latin typeface="Poppins" panose="00000500000000000000" pitchFamily="2" charset="0"/>
                <a:ea typeface="Arial" panose="020B0604020202020204" pitchFamily="34" charset="0"/>
                <a:cs typeface="Poppins" panose="00000500000000000000" pitchFamily="2" charset="0"/>
              </a:rPr>
              <a:t>Muestra también los EPP obligatorios según sea el caso. </a:t>
            </a:r>
            <a:endParaRPr lang="es-PE" sz="1100" dirty="0">
              <a:latin typeface="Poppins" panose="00000500000000000000" pitchFamily="2" charset="0"/>
              <a:ea typeface="Arial" panose="020B0604020202020204" pitchFamily="34" charset="0"/>
              <a:cs typeface="Poppins" panose="00000500000000000000" pitchFamily="2" charset="0"/>
            </a:endParaRPr>
          </a:p>
        </p:txBody>
      </p:sp>
      <p:pic>
        <p:nvPicPr>
          <p:cNvPr id="6" name="Picture 5">
            <a:extLst>
              <a:ext uri="{FF2B5EF4-FFF2-40B4-BE49-F238E27FC236}">
                <a16:creationId xmlns:a16="http://schemas.microsoft.com/office/drawing/2014/main" id="{927CC2CB-078E-FA91-79E7-6FC99A81DC72}"/>
              </a:ext>
            </a:extLst>
          </p:cNvPr>
          <p:cNvPicPr>
            <a:picLocks noChangeAspect="1"/>
          </p:cNvPicPr>
          <p:nvPr/>
        </p:nvPicPr>
        <p:blipFill>
          <a:blip r:embed="rId2"/>
          <a:stretch>
            <a:fillRect/>
          </a:stretch>
        </p:blipFill>
        <p:spPr>
          <a:xfrm>
            <a:off x="686295" y="3147431"/>
            <a:ext cx="4835730" cy="3456282"/>
          </a:xfrm>
          <a:prstGeom prst="rect">
            <a:avLst/>
          </a:prstGeom>
          <a:ln w="19050">
            <a:solidFill>
              <a:srgbClr val="C68B69"/>
            </a:solidFill>
          </a:ln>
        </p:spPr>
      </p:pic>
      <p:sp>
        <p:nvSpPr>
          <p:cNvPr id="5" name="TextBox 4">
            <a:extLst>
              <a:ext uri="{FF2B5EF4-FFF2-40B4-BE49-F238E27FC236}">
                <a16:creationId xmlns:a16="http://schemas.microsoft.com/office/drawing/2014/main" id="{8AFFD92F-9BB8-0E01-3982-1330DA13DD46}"/>
              </a:ext>
            </a:extLst>
          </p:cNvPr>
          <p:cNvSpPr txBox="1"/>
          <p:nvPr/>
        </p:nvSpPr>
        <p:spPr>
          <a:xfrm>
            <a:off x="7506984" y="5156547"/>
            <a:ext cx="3423729"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dirty="0">
                <a:latin typeface="Poppins Medium" panose="020B0502040204020203" pitchFamily="2" charset="0"/>
                <a:cs typeface="Poppins Medium" panose="020B0502040204020203" pitchFamily="2" charset="0"/>
              </a:rPr>
              <a:t>¿Dónde debe exhibirse mapa de Riesgos?</a:t>
            </a:r>
          </a:p>
        </p:txBody>
      </p:sp>
      <p:sp>
        <p:nvSpPr>
          <p:cNvPr id="8" name="TextBox 7">
            <a:extLst>
              <a:ext uri="{FF2B5EF4-FFF2-40B4-BE49-F238E27FC236}">
                <a16:creationId xmlns:a16="http://schemas.microsoft.com/office/drawing/2014/main" id="{B4CEDBF1-C9A7-C29C-ED5D-FE286E170E5E}"/>
              </a:ext>
            </a:extLst>
          </p:cNvPr>
          <p:cNvSpPr txBox="1"/>
          <p:nvPr/>
        </p:nvSpPr>
        <p:spPr>
          <a:xfrm>
            <a:off x="7506984" y="5527876"/>
            <a:ext cx="3612642" cy="430887"/>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t>El mapa de Riesgos debe exhibirse en el lugar de </a:t>
            </a:r>
            <a:r>
              <a:rPr lang="es-PE"/>
              <a:t>trabajo.</a:t>
            </a:r>
            <a:endParaRPr lang="en-US" dirty="0"/>
          </a:p>
        </p:txBody>
      </p:sp>
      <p:sp>
        <p:nvSpPr>
          <p:cNvPr id="9" name="TextBox 8">
            <a:extLst>
              <a:ext uri="{FF2B5EF4-FFF2-40B4-BE49-F238E27FC236}">
                <a16:creationId xmlns:a16="http://schemas.microsoft.com/office/drawing/2014/main" id="{AEE60E83-F2C8-0353-9735-854742B4206A}"/>
              </a:ext>
            </a:extLst>
          </p:cNvPr>
          <p:cNvSpPr txBox="1"/>
          <p:nvPr/>
        </p:nvSpPr>
        <p:spPr>
          <a:xfrm>
            <a:off x="6940092" y="3224066"/>
            <a:ext cx="4363394"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dirty="0">
                <a:latin typeface="Poppins Medium" panose="020B0502040204020203" pitchFamily="2" charset="0"/>
                <a:cs typeface="Poppins Medium" panose="020B0502040204020203" pitchFamily="2" charset="0"/>
              </a:rPr>
              <a:t>¿Qué hacer cuando se actualiza el Mapa de Riesgos?</a:t>
            </a:r>
          </a:p>
        </p:txBody>
      </p:sp>
      <p:sp>
        <p:nvSpPr>
          <p:cNvPr id="11" name="TextBox 10">
            <a:extLst>
              <a:ext uri="{FF2B5EF4-FFF2-40B4-BE49-F238E27FC236}">
                <a16:creationId xmlns:a16="http://schemas.microsoft.com/office/drawing/2014/main" id="{D1D424AF-545C-9855-BAAD-EDE2E5786B00}"/>
              </a:ext>
            </a:extLst>
          </p:cNvPr>
          <p:cNvSpPr txBox="1"/>
          <p:nvPr/>
        </p:nvSpPr>
        <p:spPr>
          <a:xfrm>
            <a:off x="6983483" y="3579781"/>
            <a:ext cx="4481912" cy="769441"/>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t>Cada responsable de área de SMCV. Cuando genere cambios y/o modificaciones en sus instalaciones en caso aplique debe enviar al área de ingeniería el documento actualizado. </a:t>
            </a:r>
          </a:p>
        </p:txBody>
      </p:sp>
      <p:sp>
        <p:nvSpPr>
          <p:cNvPr id="18" name="Rectangle 17">
            <a:extLst>
              <a:ext uri="{FF2B5EF4-FFF2-40B4-BE49-F238E27FC236}">
                <a16:creationId xmlns:a16="http://schemas.microsoft.com/office/drawing/2014/main" id="{5BB4FB32-8C32-3CA6-2DE2-A47453BFB8B3}"/>
              </a:ext>
            </a:extLst>
          </p:cNvPr>
          <p:cNvSpPr/>
          <p:nvPr/>
        </p:nvSpPr>
        <p:spPr>
          <a:xfrm>
            <a:off x="6833200" y="1659253"/>
            <a:ext cx="4583369" cy="786026"/>
          </a:xfrm>
          <a:prstGeom prst="rect">
            <a:avLst/>
          </a:prstGeom>
          <a:noFill/>
          <a:ln w="28575">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D0223BA6-087E-6A13-D312-D830CA45AE71}"/>
              </a:ext>
            </a:extLst>
          </p:cNvPr>
          <p:cNvSpPr txBox="1"/>
          <p:nvPr/>
        </p:nvSpPr>
        <p:spPr>
          <a:xfrm>
            <a:off x="6940092" y="1525043"/>
            <a:ext cx="4363394" cy="268420"/>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dirty="0">
                <a:latin typeface="Poppins Medium" panose="020B0502040204020203" pitchFamily="2" charset="0"/>
                <a:cs typeface="Poppins Medium" panose="020B0502040204020203" pitchFamily="2" charset="0"/>
              </a:rPr>
              <a:t>¿Cada cuanto se debe actualizar un Mapa de Riesgo?</a:t>
            </a:r>
          </a:p>
        </p:txBody>
      </p:sp>
      <p:sp>
        <p:nvSpPr>
          <p:cNvPr id="20" name="TextBox 19">
            <a:extLst>
              <a:ext uri="{FF2B5EF4-FFF2-40B4-BE49-F238E27FC236}">
                <a16:creationId xmlns:a16="http://schemas.microsoft.com/office/drawing/2014/main" id="{69251829-820E-D776-BD57-6DC4F5792272}"/>
              </a:ext>
            </a:extLst>
          </p:cNvPr>
          <p:cNvSpPr txBox="1"/>
          <p:nvPr/>
        </p:nvSpPr>
        <p:spPr>
          <a:xfrm>
            <a:off x="6983483" y="1880758"/>
            <a:ext cx="4481912" cy="430887"/>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t>Por lo menos anualmente o cuando las condiciones operativas cambien. </a:t>
            </a:r>
          </a:p>
        </p:txBody>
      </p:sp>
    </p:spTree>
    <p:extLst>
      <p:ext uri="{BB962C8B-B14F-4D97-AF65-F5344CB8AC3E}">
        <p14:creationId xmlns:p14="http://schemas.microsoft.com/office/powerpoint/2010/main" val="23121904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1F13F-E182-6AA5-3C7C-1BAC32DFE609}"/>
              </a:ext>
            </a:extLst>
          </p:cNvPr>
          <p:cNvSpPr>
            <a:spLocks noGrp="1"/>
          </p:cNvSpPr>
          <p:nvPr>
            <p:ph type="title"/>
          </p:nvPr>
        </p:nvSpPr>
        <p:spPr/>
        <p:txBody>
          <a:bodyPr/>
          <a:lstStyle/>
          <a:p>
            <a:r>
              <a:rPr lang="es-PE" dirty="0"/>
              <a:t>Índice</a:t>
            </a:r>
            <a:endParaRPr lang="en-US" dirty="0"/>
          </a:p>
        </p:txBody>
      </p:sp>
      <p:sp>
        <p:nvSpPr>
          <p:cNvPr id="3" name="Rectangle 2">
            <a:extLst>
              <a:ext uri="{FF2B5EF4-FFF2-40B4-BE49-F238E27FC236}">
                <a16:creationId xmlns:a16="http://schemas.microsoft.com/office/drawing/2014/main" id="{BC420C4F-E7E6-4DE1-5528-48DCB8BEB289}"/>
              </a:ext>
            </a:extLst>
          </p:cNvPr>
          <p:cNvSpPr/>
          <p:nvPr/>
        </p:nvSpPr>
        <p:spPr>
          <a:xfrm>
            <a:off x="543692" y="1392400"/>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 name="Pentagon 3">
            <a:extLst>
              <a:ext uri="{FF2B5EF4-FFF2-40B4-BE49-F238E27FC236}">
                <a16:creationId xmlns:a16="http://schemas.microsoft.com/office/drawing/2014/main" id="{48307AEA-37CA-AFB0-4C77-56A0C16F8AFC}"/>
              </a:ext>
            </a:extLst>
          </p:cNvPr>
          <p:cNvSpPr/>
          <p:nvPr/>
        </p:nvSpPr>
        <p:spPr>
          <a:xfrm>
            <a:off x="543692" y="1392400"/>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5" name="Rectangle 4">
            <a:extLst>
              <a:ext uri="{FF2B5EF4-FFF2-40B4-BE49-F238E27FC236}">
                <a16:creationId xmlns:a16="http://schemas.microsoft.com/office/drawing/2014/main" id="{AF9375A5-595B-DD76-78B5-F94BBFFDF8B0}"/>
              </a:ext>
            </a:extLst>
          </p:cNvPr>
          <p:cNvSpPr/>
          <p:nvPr/>
        </p:nvSpPr>
        <p:spPr>
          <a:xfrm>
            <a:off x="543692" y="208584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6" name="Pentagon 11">
            <a:extLst>
              <a:ext uri="{FF2B5EF4-FFF2-40B4-BE49-F238E27FC236}">
                <a16:creationId xmlns:a16="http://schemas.microsoft.com/office/drawing/2014/main" id="{5FDC0A1D-2A36-7AE2-C51F-693B2AB1C1BB}"/>
              </a:ext>
            </a:extLst>
          </p:cNvPr>
          <p:cNvSpPr/>
          <p:nvPr/>
        </p:nvSpPr>
        <p:spPr>
          <a:xfrm>
            <a:off x="543692" y="2085841"/>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 name="Rectangle 6">
            <a:extLst>
              <a:ext uri="{FF2B5EF4-FFF2-40B4-BE49-F238E27FC236}">
                <a16:creationId xmlns:a16="http://schemas.microsoft.com/office/drawing/2014/main" id="{EA3A2333-EB04-FA9E-DC15-2C29B9A62150}"/>
              </a:ext>
            </a:extLst>
          </p:cNvPr>
          <p:cNvSpPr/>
          <p:nvPr/>
        </p:nvSpPr>
        <p:spPr>
          <a:xfrm>
            <a:off x="543692" y="277928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 name="Pentagon 17">
            <a:extLst>
              <a:ext uri="{FF2B5EF4-FFF2-40B4-BE49-F238E27FC236}">
                <a16:creationId xmlns:a16="http://schemas.microsoft.com/office/drawing/2014/main" id="{797EF3C8-D6DC-D69C-6080-1EB51A7ADDE8}"/>
              </a:ext>
            </a:extLst>
          </p:cNvPr>
          <p:cNvSpPr/>
          <p:nvPr/>
        </p:nvSpPr>
        <p:spPr>
          <a:xfrm>
            <a:off x="543692" y="2779281"/>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 name="Rectangle 8">
            <a:extLst>
              <a:ext uri="{FF2B5EF4-FFF2-40B4-BE49-F238E27FC236}">
                <a16:creationId xmlns:a16="http://schemas.microsoft.com/office/drawing/2014/main" id="{FA4AEED8-2025-162D-50C2-DC6D25521CEB}"/>
              </a:ext>
            </a:extLst>
          </p:cNvPr>
          <p:cNvSpPr/>
          <p:nvPr/>
        </p:nvSpPr>
        <p:spPr>
          <a:xfrm>
            <a:off x="543692" y="3472722"/>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0" name="Pentagon 23">
            <a:extLst>
              <a:ext uri="{FF2B5EF4-FFF2-40B4-BE49-F238E27FC236}">
                <a16:creationId xmlns:a16="http://schemas.microsoft.com/office/drawing/2014/main" id="{113DA00E-5221-B13E-B3D3-52931A446DAA}"/>
              </a:ext>
            </a:extLst>
          </p:cNvPr>
          <p:cNvSpPr/>
          <p:nvPr/>
        </p:nvSpPr>
        <p:spPr>
          <a:xfrm>
            <a:off x="543692" y="3472722"/>
            <a:ext cx="1181292" cy="62026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 name="Rectangle 10">
            <a:extLst>
              <a:ext uri="{FF2B5EF4-FFF2-40B4-BE49-F238E27FC236}">
                <a16:creationId xmlns:a16="http://schemas.microsoft.com/office/drawing/2014/main" id="{21C52E80-AF69-45D1-5C47-388B4F8435FC}"/>
              </a:ext>
            </a:extLst>
          </p:cNvPr>
          <p:cNvSpPr/>
          <p:nvPr/>
        </p:nvSpPr>
        <p:spPr>
          <a:xfrm>
            <a:off x="543692" y="416616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 name="Pentagon 29">
            <a:extLst>
              <a:ext uri="{FF2B5EF4-FFF2-40B4-BE49-F238E27FC236}">
                <a16:creationId xmlns:a16="http://schemas.microsoft.com/office/drawing/2014/main" id="{5537EB64-6A71-C278-99B5-C997035AF7CB}"/>
              </a:ext>
            </a:extLst>
          </p:cNvPr>
          <p:cNvSpPr/>
          <p:nvPr/>
        </p:nvSpPr>
        <p:spPr>
          <a:xfrm>
            <a:off x="543692" y="4166163"/>
            <a:ext cx="1181292" cy="620261"/>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 name="TextBox 12">
            <a:extLst>
              <a:ext uri="{FF2B5EF4-FFF2-40B4-BE49-F238E27FC236}">
                <a16:creationId xmlns:a16="http://schemas.microsoft.com/office/drawing/2014/main" id="{1D31CF0C-6AFE-D184-1CE7-350B08802495}"/>
              </a:ext>
            </a:extLst>
          </p:cNvPr>
          <p:cNvSpPr txBox="1"/>
          <p:nvPr/>
        </p:nvSpPr>
        <p:spPr>
          <a:xfrm>
            <a:off x="734537" y="1431030"/>
            <a:ext cx="546945"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1</a:t>
            </a:r>
          </a:p>
        </p:txBody>
      </p:sp>
      <p:sp>
        <p:nvSpPr>
          <p:cNvPr id="14" name="TextBox 13">
            <a:extLst>
              <a:ext uri="{FF2B5EF4-FFF2-40B4-BE49-F238E27FC236}">
                <a16:creationId xmlns:a16="http://schemas.microsoft.com/office/drawing/2014/main" id="{5A156A7A-0FE9-1C33-8AEE-2702DCADF50D}"/>
              </a:ext>
            </a:extLst>
          </p:cNvPr>
          <p:cNvSpPr txBox="1"/>
          <p:nvPr/>
        </p:nvSpPr>
        <p:spPr>
          <a:xfrm>
            <a:off x="696065" y="2124471"/>
            <a:ext cx="623889"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2</a:t>
            </a:r>
          </a:p>
        </p:txBody>
      </p:sp>
      <p:sp>
        <p:nvSpPr>
          <p:cNvPr id="15" name="TextBox 14">
            <a:extLst>
              <a:ext uri="{FF2B5EF4-FFF2-40B4-BE49-F238E27FC236}">
                <a16:creationId xmlns:a16="http://schemas.microsoft.com/office/drawing/2014/main" id="{8239CA27-15C8-ECB1-0628-3D241CB359AE}"/>
              </a:ext>
            </a:extLst>
          </p:cNvPr>
          <p:cNvSpPr txBox="1"/>
          <p:nvPr/>
        </p:nvSpPr>
        <p:spPr>
          <a:xfrm>
            <a:off x="692058" y="2817911"/>
            <a:ext cx="631903"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3</a:t>
            </a:r>
          </a:p>
        </p:txBody>
      </p:sp>
      <p:sp>
        <p:nvSpPr>
          <p:cNvPr id="16" name="TextBox 15">
            <a:extLst>
              <a:ext uri="{FF2B5EF4-FFF2-40B4-BE49-F238E27FC236}">
                <a16:creationId xmlns:a16="http://schemas.microsoft.com/office/drawing/2014/main" id="{5BFE2C36-AC1F-D0FB-7A2E-AFCCB394ED86}"/>
              </a:ext>
            </a:extLst>
          </p:cNvPr>
          <p:cNvSpPr txBox="1"/>
          <p:nvPr/>
        </p:nvSpPr>
        <p:spPr>
          <a:xfrm>
            <a:off x="680836" y="3511352"/>
            <a:ext cx="654346"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4</a:t>
            </a:r>
          </a:p>
        </p:txBody>
      </p:sp>
      <p:sp>
        <p:nvSpPr>
          <p:cNvPr id="17" name="TextBox 16">
            <a:extLst>
              <a:ext uri="{FF2B5EF4-FFF2-40B4-BE49-F238E27FC236}">
                <a16:creationId xmlns:a16="http://schemas.microsoft.com/office/drawing/2014/main" id="{F84E76AC-E5C2-272B-08D7-A80B59BE9489}"/>
              </a:ext>
            </a:extLst>
          </p:cNvPr>
          <p:cNvSpPr txBox="1"/>
          <p:nvPr/>
        </p:nvSpPr>
        <p:spPr>
          <a:xfrm>
            <a:off x="684043" y="4204793"/>
            <a:ext cx="64793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5</a:t>
            </a:r>
          </a:p>
        </p:txBody>
      </p:sp>
      <p:sp>
        <p:nvSpPr>
          <p:cNvPr id="18" name="TextBox 17">
            <a:hlinkClick r:id="rId2" action="ppaction://hlinksldjump"/>
            <a:extLst>
              <a:ext uri="{FF2B5EF4-FFF2-40B4-BE49-F238E27FC236}">
                <a16:creationId xmlns:a16="http://schemas.microsoft.com/office/drawing/2014/main" id="{C9A05AFE-F0DF-0F2C-162B-050ED0F9FF05}"/>
              </a:ext>
            </a:extLst>
          </p:cNvPr>
          <p:cNvSpPr txBox="1"/>
          <p:nvPr/>
        </p:nvSpPr>
        <p:spPr>
          <a:xfrm>
            <a:off x="1761612" y="1549419"/>
            <a:ext cx="1909497" cy="338554"/>
          </a:xfrm>
          <a:prstGeom prst="rect">
            <a:avLst/>
          </a:prstGeom>
          <a:noFill/>
        </p:spPr>
        <p:txBody>
          <a:bodyPr wrap="non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Datos</a:t>
            </a:r>
            <a:r>
              <a:rPr lang="en-US" sz="1600" b="1" dirty="0">
                <a:solidFill>
                  <a:schemeClr val="tx2"/>
                </a:solidFill>
                <a:latin typeface="Poppins SemiBold" pitchFamily="2" charset="77"/>
                <a:ea typeface="League Spartan" charset="0"/>
                <a:cs typeface="Poppins SemiBold" pitchFamily="2" charset="77"/>
              </a:rPr>
              <a:t> </a:t>
            </a:r>
            <a:r>
              <a:rPr lang="en-US" sz="1600" b="1" dirty="0" err="1">
                <a:solidFill>
                  <a:schemeClr val="tx2"/>
                </a:solidFill>
                <a:latin typeface="Poppins SemiBold" pitchFamily="2" charset="77"/>
                <a:ea typeface="League Spartan" charset="0"/>
                <a:cs typeface="Poppins SemiBold" pitchFamily="2" charset="77"/>
              </a:rPr>
              <a:t>Generales</a:t>
            </a:r>
            <a:endParaRPr lang="en-US" sz="1600" b="1" dirty="0">
              <a:solidFill>
                <a:schemeClr val="tx2"/>
              </a:solidFill>
              <a:latin typeface="Poppins SemiBold" pitchFamily="2" charset="77"/>
              <a:ea typeface="League Spartan" charset="0"/>
              <a:cs typeface="Poppins SemiBold" pitchFamily="2" charset="77"/>
            </a:endParaRPr>
          </a:p>
        </p:txBody>
      </p:sp>
      <p:sp>
        <p:nvSpPr>
          <p:cNvPr id="19" name="TextBox 18">
            <a:hlinkClick r:id="rId3" action="ppaction://hlinksldjump"/>
            <a:extLst>
              <a:ext uri="{FF2B5EF4-FFF2-40B4-BE49-F238E27FC236}">
                <a16:creationId xmlns:a16="http://schemas.microsoft.com/office/drawing/2014/main" id="{9A6B109C-EC8C-440B-4A85-3DC25C790B1C}"/>
              </a:ext>
            </a:extLst>
          </p:cNvPr>
          <p:cNvSpPr txBox="1"/>
          <p:nvPr/>
        </p:nvSpPr>
        <p:spPr>
          <a:xfrm>
            <a:off x="1761612" y="2242859"/>
            <a:ext cx="1980029"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Plan de </a:t>
            </a:r>
            <a:r>
              <a:rPr lang="en-US" sz="1600" b="1" dirty="0" err="1">
                <a:solidFill>
                  <a:schemeClr val="tx2"/>
                </a:solidFill>
                <a:latin typeface="Poppins SemiBold" pitchFamily="2" charset="77"/>
                <a:ea typeface="League Spartan" charset="0"/>
                <a:cs typeface="Poppins SemiBold" pitchFamily="2" charset="77"/>
              </a:rPr>
              <a:t>Auditoría</a:t>
            </a:r>
            <a:endParaRPr lang="en-US" sz="1600" b="1" dirty="0">
              <a:solidFill>
                <a:schemeClr val="tx2"/>
              </a:solidFill>
              <a:latin typeface="Poppins SemiBold" pitchFamily="2" charset="77"/>
              <a:ea typeface="League Spartan" charset="0"/>
              <a:cs typeface="Poppins SemiBold" pitchFamily="2" charset="77"/>
            </a:endParaRPr>
          </a:p>
        </p:txBody>
      </p:sp>
      <p:sp>
        <p:nvSpPr>
          <p:cNvPr id="20" name="TextBox 19">
            <a:hlinkClick r:id="rId4" action="ppaction://hlinksldjump"/>
            <a:extLst>
              <a:ext uri="{FF2B5EF4-FFF2-40B4-BE49-F238E27FC236}">
                <a16:creationId xmlns:a16="http://schemas.microsoft.com/office/drawing/2014/main" id="{48910503-1384-5217-480B-0DFA5283CF42}"/>
              </a:ext>
            </a:extLst>
          </p:cNvPr>
          <p:cNvSpPr txBox="1"/>
          <p:nvPr/>
        </p:nvSpPr>
        <p:spPr>
          <a:xfrm>
            <a:off x="1761612" y="2936299"/>
            <a:ext cx="3411511" cy="338554"/>
          </a:xfrm>
          <a:prstGeom prst="rect">
            <a:avLst/>
          </a:prstGeom>
          <a:noFill/>
        </p:spPr>
        <p:txBody>
          <a:bodyPr wrap="non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Información</a:t>
            </a:r>
            <a:r>
              <a:rPr lang="en-US" sz="1600" b="1" dirty="0">
                <a:solidFill>
                  <a:schemeClr val="tx2"/>
                </a:solidFill>
                <a:latin typeface="Poppins SemiBold" pitchFamily="2" charset="77"/>
                <a:ea typeface="League Spartan" charset="0"/>
                <a:cs typeface="Poppins SemiBold" pitchFamily="2" charset="77"/>
              </a:rPr>
              <a:t> </a:t>
            </a:r>
            <a:r>
              <a:rPr lang="en-US" sz="1600" b="1" dirty="0" err="1">
                <a:solidFill>
                  <a:schemeClr val="tx2"/>
                </a:solidFill>
                <a:latin typeface="Poppins SemiBold" pitchFamily="2" charset="77"/>
                <a:ea typeface="League Spartan" charset="0"/>
                <a:cs typeface="Poppins SemiBold" pitchFamily="2" charset="77"/>
              </a:rPr>
              <a:t>acerca</a:t>
            </a:r>
            <a:r>
              <a:rPr lang="en-US" sz="1600" b="1" dirty="0">
                <a:solidFill>
                  <a:schemeClr val="tx2"/>
                </a:solidFill>
                <a:latin typeface="Poppins SemiBold" pitchFamily="2" charset="77"/>
                <a:ea typeface="League Spartan" charset="0"/>
                <a:cs typeface="Poppins SemiBold" pitchFamily="2" charset="77"/>
              </a:rPr>
              <a:t> del SGSSO </a:t>
            </a:r>
          </a:p>
        </p:txBody>
      </p:sp>
      <p:sp>
        <p:nvSpPr>
          <p:cNvPr id="21" name="TextBox 20">
            <a:hlinkClick r:id="rId5" action="ppaction://hlinksldjump"/>
            <a:extLst>
              <a:ext uri="{FF2B5EF4-FFF2-40B4-BE49-F238E27FC236}">
                <a16:creationId xmlns:a16="http://schemas.microsoft.com/office/drawing/2014/main" id="{A30D83DD-C108-F4A6-EB42-BBA27C01D37C}"/>
              </a:ext>
            </a:extLst>
          </p:cNvPr>
          <p:cNvSpPr txBox="1"/>
          <p:nvPr/>
        </p:nvSpPr>
        <p:spPr>
          <a:xfrm>
            <a:off x="1761612" y="3630508"/>
            <a:ext cx="3225563"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Política de </a:t>
            </a:r>
            <a:r>
              <a:rPr lang="en-US" sz="1600" b="1" dirty="0" err="1">
                <a:solidFill>
                  <a:schemeClr val="tx2"/>
                </a:solidFill>
                <a:latin typeface="Poppins SemiBold" pitchFamily="2" charset="77"/>
                <a:ea typeface="League Spartan" charset="0"/>
                <a:cs typeface="Poppins SemiBold" pitchFamily="2" charset="77"/>
              </a:rPr>
              <a:t>Salud</a:t>
            </a:r>
            <a:r>
              <a:rPr lang="en-US" sz="1600" b="1" dirty="0">
                <a:solidFill>
                  <a:schemeClr val="tx2"/>
                </a:solidFill>
                <a:latin typeface="Poppins SemiBold" pitchFamily="2" charset="77"/>
                <a:ea typeface="League Spartan" charset="0"/>
                <a:cs typeface="Poppins SemiBold" pitchFamily="2" charset="77"/>
              </a:rPr>
              <a:t> y </a:t>
            </a:r>
            <a:r>
              <a:rPr lang="en-US" sz="1600" b="1" dirty="0" err="1">
                <a:solidFill>
                  <a:schemeClr val="tx2"/>
                </a:solidFill>
                <a:latin typeface="Poppins SemiBold" pitchFamily="2" charset="77"/>
                <a:ea typeface="League Spartan" charset="0"/>
                <a:cs typeface="Poppins SemiBold" pitchFamily="2" charset="77"/>
              </a:rPr>
              <a:t>Seguridad</a:t>
            </a:r>
            <a:endParaRPr lang="en-US" sz="1600" b="1" dirty="0">
              <a:solidFill>
                <a:schemeClr val="tx2"/>
              </a:solidFill>
              <a:latin typeface="Poppins SemiBold" pitchFamily="2" charset="77"/>
              <a:ea typeface="League Spartan" charset="0"/>
              <a:cs typeface="Poppins SemiBold" pitchFamily="2" charset="77"/>
            </a:endParaRPr>
          </a:p>
        </p:txBody>
      </p:sp>
      <p:sp>
        <p:nvSpPr>
          <p:cNvPr id="22" name="TextBox 21">
            <a:hlinkClick r:id="rId6" action="ppaction://hlinksldjump"/>
            <a:extLst>
              <a:ext uri="{FF2B5EF4-FFF2-40B4-BE49-F238E27FC236}">
                <a16:creationId xmlns:a16="http://schemas.microsoft.com/office/drawing/2014/main" id="{0081F4EB-981B-D8D7-5F84-1EA2D419FD33}"/>
              </a:ext>
            </a:extLst>
          </p:cNvPr>
          <p:cNvSpPr txBox="1"/>
          <p:nvPr/>
        </p:nvSpPr>
        <p:spPr>
          <a:xfrm>
            <a:off x="1761612" y="4323181"/>
            <a:ext cx="3039615" cy="338554"/>
          </a:xfrm>
          <a:prstGeom prst="rect">
            <a:avLst/>
          </a:prstGeom>
          <a:noFill/>
        </p:spPr>
        <p:txBody>
          <a:bodyPr wrap="non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altLang="en-US" dirty="0"/>
              <a:t>Planificación de Actividades SSO</a:t>
            </a:r>
            <a:endParaRPr lang="en-US" dirty="0"/>
          </a:p>
        </p:txBody>
      </p:sp>
      <p:sp>
        <p:nvSpPr>
          <p:cNvPr id="23" name="Rectangle 22">
            <a:extLst>
              <a:ext uri="{FF2B5EF4-FFF2-40B4-BE49-F238E27FC236}">
                <a16:creationId xmlns:a16="http://schemas.microsoft.com/office/drawing/2014/main" id="{D573494F-AAE5-B88E-F70E-FF415282D482}"/>
              </a:ext>
            </a:extLst>
          </p:cNvPr>
          <p:cNvSpPr/>
          <p:nvPr/>
        </p:nvSpPr>
        <p:spPr>
          <a:xfrm>
            <a:off x="543692" y="485960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Pentagon 3">
            <a:extLst>
              <a:ext uri="{FF2B5EF4-FFF2-40B4-BE49-F238E27FC236}">
                <a16:creationId xmlns:a16="http://schemas.microsoft.com/office/drawing/2014/main" id="{3FF54F08-A1BE-C5C5-5771-968C573C45D9}"/>
              </a:ext>
            </a:extLst>
          </p:cNvPr>
          <p:cNvSpPr/>
          <p:nvPr/>
        </p:nvSpPr>
        <p:spPr>
          <a:xfrm>
            <a:off x="543692" y="4859604"/>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5" name="TextBox 24">
            <a:extLst>
              <a:ext uri="{FF2B5EF4-FFF2-40B4-BE49-F238E27FC236}">
                <a16:creationId xmlns:a16="http://schemas.microsoft.com/office/drawing/2014/main" id="{431BB8BF-91F5-6993-804B-112518D7A66C}"/>
              </a:ext>
            </a:extLst>
          </p:cNvPr>
          <p:cNvSpPr txBox="1"/>
          <p:nvPr/>
        </p:nvSpPr>
        <p:spPr>
          <a:xfrm>
            <a:off x="684844" y="4898234"/>
            <a:ext cx="646331"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6</a:t>
            </a:r>
          </a:p>
        </p:txBody>
      </p:sp>
      <p:sp>
        <p:nvSpPr>
          <p:cNvPr id="26" name="TextBox 25">
            <a:hlinkClick r:id="rId7" action="ppaction://hlinksldjump"/>
            <a:extLst>
              <a:ext uri="{FF2B5EF4-FFF2-40B4-BE49-F238E27FC236}">
                <a16:creationId xmlns:a16="http://schemas.microsoft.com/office/drawing/2014/main" id="{B3BDE3D9-9C55-BD71-2090-513A03AF6AD2}"/>
              </a:ext>
            </a:extLst>
          </p:cNvPr>
          <p:cNvSpPr txBox="1"/>
          <p:nvPr/>
        </p:nvSpPr>
        <p:spPr>
          <a:xfrm>
            <a:off x="1761612" y="5016623"/>
            <a:ext cx="2863284" cy="338554"/>
          </a:xfrm>
          <a:prstGeom prst="rect">
            <a:avLst/>
          </a:prstGeom>
          <a:noFill/>
        </p:spPr>
        <p:txBody>
          <a:bodyPr wrap="non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dirty="0"/>
              <a:t>Participación en el SGSSO</a:t>
            </a:r>
            <a:endParaRPr lang="en-US" dirty="0"/>
          </a:p>
        </p:txBody>
      </p:sp>
      <p:sp>
        <p:nvSpPr>
          <p:cNvPr id="27" name="Rectangle 26">
            <a:extLst>
              <a:ext uri="{FF2B5EF4-FFF2-40B4-BE49-F238E27FC236}">
                <a16:creationId xmlns:a16="http://schemas.microsoft.com/office/drawing/2014/main" id="{41C371F7-4021-5427-8850-4A84F200F606}"/>
              </a:ext>
            </a:extLst>
          </p:cNvPr>
          <p:cNvSpPr/>
          <p:nvPr/>
        </p:nvSpPr>
        <p:spPr>
          <a:xfrm>
            <a:off x="543693" y="5589030"/>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Pentagon 11">
            <a:extLst>
              <a:ext uri="{FF2B5EF4-FFF2-40B4-BE49-F238E27FC236}">
                <a16:creationId xmlns:a16="http://schemas.microsoft.com/office/drawing/2014/main" id="{2876411B-29C8-58D2-D3E1-C66EEF1ED2FC}"/>
              </a:ext>
            </a:extLst>
          </p:cNvPr>
          <p:cNvSpPr/>
          <p:nvPr/>
        </p:nvSpPr>
        <p:spPr>
          <a:xfrm>
            <a:off x="543693" y="5589030"/>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9" name="TextBox 28">
            <a:extLst>
              <a:ext uri="{FF2B5EF4-FFF2-40B4-BE49-F238E27FC236}">
                <a16:creationId xmlns:a16="http://schemas.microsoft.com/office/drawing/2014/main" id="{A98E954D-6EBC-5780-9CE2-233185AEE069}"/>
              </a:ext>
            </a:extLst>
          </p:cNvPr>
          <p:cNvSpPr txBox="1"/>
          <p:nvPr/>
        </p:nvSpPr>
        <p:spPr>
          <a:xfrm>
            <a:off x="700875" y="5627660"/>
            <a:ext cx="614271"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7</a:t>
            </a:r>
          </a:p>
        </p:txBody>
      </p:sp>
      <p:sp>
        <p:nvSpPr>
          <p:cNvPr id="30" name="TextBox 29">
            <a:hlinkClick r:id="rId8" action="ppaction://hlinksldjump"/>
            <a:extLst>
              <a:ext uri="{FF2B5EF4-FFF2-40B4-BE49-F238E27FC236}">
                <a16:creationId xmlns:a16="http://schemas.microsoft.com/office/drawing/2014/main" id="{AEDD6381-8F96-54EC-394B-974DE803FFF1}"/>
              </a:ext>
            </a:extLst>
          </p:cNvPr>
          <p:cNvSpPr txBox="1"/>
          <p:nvPr/>
        </p:nvSpPr>
        <p:spPr>
          <a:xfrm>
            <a:off x="1761613" y="5589030"/>
            <a:ext cx="3608679" cy="584775"/>
          </a:xfrm>
          <a:prstGeom prst="rect">
            <a:avLst/>
          </a:prstGeom>
          <a:noFill/>
        </p:spPr>
        <p:txBody>
          <a:bodyPr wrap="squar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Identificación</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Peligros</a:t>
            </a:r>
            <a:r>
              <a:rPr lang="en-US" sz="1600" b="1" dirty="0">
                <a:solidFill>
                  <a:schemeClr val="tx2"/>
                </a:solidFill>
                <a:latin typeface="Poppins SemiBold" pitchFamily="2" charset="77"/>
                <a:ea typeface="League Spartan" charset="0"/>
                <a:cs typeface="Poppins SemiBold" pitchFamily="2" charset="77"/>
              </a:rPr>
              <a:t> y </a:t>
            </a:r>
            <a:r>
              <a:rPr lang="en-US" sz="1600" b="1" dirty="0" err="1">
                <a:solidFill>
                  <a:schemeClr val="tx2"/>
                </a:solidFill>
                <a:latin typeface="Poppins SemiBold" pitchFamily="2" charset="77"/>
                <a:ea typeface="League Spartan" charset="0"/>
                <a:cs typeface="Poppins SemiBold" pitchFamily="2" charset="77"/>
              </a:rPr>
              <a:t>Riesgos</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Salud</a:t>
            </a:r>
            <a:r>
              <a:rPr lang="en-US" sz="1600" b="1" dirty="0">
                <a:solidFill>
                  <a:schemeClr val="tx2"/>
                </a:solidFill>
                <a:latin typeface="Poppins SemiBold" pitchFamily="2" charset="77"/>
                <a:ea typeface="League Spartan" charset="0"/>
                <a:cs typeface="Poppins SemiBold" pitchFamily="2" charset="77"/>
              </a:rPr>
              <a:t> y </a:t>
            </a:r>
            <a:r>
              <a:rPr lang="en-US" sz="1600" b="1" dirty="0" err="1">
                <a:solidFill>
                  <a:schemeClr val="tx2"/>
                </a:solidFill>
                <a:latin typeface="Poppins SemiBold" pitchFamily="2" charset="77"/>
                <a:ea typeface="League Spartan" charset="0"/>
                <a:cs typeface="Poppins SemiBold" pitchFamily="2" charset="77"/>
              </a:rPr>
              <a:t>Seguridad</a:t>
            </a:r>
            <a:endParaRPr lang="en-US" sz="1600" b="1" dirty="0">
              <a:solidFill>
                <a:schemeClr val="tx2"/>
              </a:solidFill>
              <a:latin typeface="Poppins SemiBold" pitchFamily="2" charset="77"/>
              <a:ea typeface="League Spartan" charset="0"/>
              <a:cs typeface="Poppins SemiBold" pitchFamily="2" charset="77"/>
            </a:endParaRPr>
          </a:p>
        </p:txBody>
      </p:sp>
      <p:sp>
        <p:nvSpPr>
          <p:cNvPr id="31" name="Rectangle 30">
            <a:extLst>
              <a:ext uri="{FF2B5EF4-FFF2-40B4-BE49-F238E27FC236}">
                <a16:creationId xmlns:a16="http://schemas.microsoft.com/office/drawing/2014/main" id="{15307E95-7D67-ECE7-397D-59110C2A7FCE}"/>
              </a:ext>
            </a:extLst>
          </p:cNvPr>
          <p:cNvSpPr/>
          <p:nvPr/>
        </p:nvSpPr>
        <p:spPr>
          <a:xfrm>
            <a:off x="6098594" y="13868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2" name="Pentagon 17">
            <a:extLst>
              <a:ext uri="{FF2B5EF4-FFF2-40B4-BE49-F238E27FC236}">
                <a16:creationId xmlns:a16="http://schemas.microsoft.com/office/drawing/2014/main" id="{45D0180C-8EF3-4BF2-9234-B5EF139A188A}"/>
              </a:ext>
            </a:extLst>
          </p:cNvPr>
          <p:cNvSpPr/>
          <p:nvPr/>
        </p:nvSpPr>
        <p:spPr>
          <a:xfrm>
            <a:off x="6098594" y="1386894"/>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3" name="Rectangle 32">
            <a:extLst>
              <a:ext uri="{FF2B5EF4-FFF2-40B4-BE49-F238E27FC236}">
                <a16:creationId xmlns:a16="http://schemas.microsoft.com/office/drawing/2014/main" id="{EE40E57B-098B-CC43-B3CA-35BA76D50E15}"/>
              </a:ext>
            </a:extLst>
          </p:cNvPr>
          <p:cNvSpPr/>
          <p:nvPr/>
        </p:nvSpPr>
        <p:spPr>
          <a:xfrm>
            <a:off x="6098594" y="2080335"/>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4" name="Pentagon 23">
            <a:extLst>
              <a:ext uri="{FF2B5EF4-FFF2-40B4-BE49-F238E27FC236}">
                <a16:creationId xmlns:a16="http://schemas.microsoft.com/office/drawing/2014/main" id="{30372A7E-911B-6239-8C58-2B8AC8065F56}"/>
              </a:ext>
            </a:extLst>
          </p:cNvPr>
          <p:cNvSpPr/>
          <p:nvPr/>
        </p:nvSpPr>
        <p:spPr>
          <a:xfrm>
            <a:off x="6098594" y="2080335"/>
            <a:ext cx="1181292" cy="62026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5" name="Rectangle 34">
            <a:extLst>
              <a:ext uri="{FF2B5EF4-FFF2-40B4-BE49-F238E27FC236}">
                <a16:creationId xmlns:a16="http://schemas.microsoft.com/office/drawing/2014/main" id="{76F26EB5-65C7-3A30-2986-918DA344D214}"/>
              </a:ext>
            </a:extLst>
          </p:cNvPr>
          <p:cNvSpPr/>
          <p:nvPr/>
        </p:nvSpPr>
        <p:spPr>
          <a:xfrm>
            <a:off x="6098594" y="2773776"/>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6" name="Pentagon 29">
            <a:extLst>
              <a:ext uri="{FF2B5EF4-FFF2-40B4-BE49-F238E27FC236}">
                <a16:creationId xmlns:a16="http://schemas.microsoft.com/office/drawing/2014/main" id="{FCFD676C-3DF6-582E-DA27-64EBECCEF549}"/>
              </a:ext>
            </a:extLst>
          </p:cNvPr>
          <p:cNvSpPr/>
          <p:nvPr/>
        </p:nvSpPr>
        <p:spPr>
          <a:xfrm>
            <a:off x="6098594" y="2773776"/>
            <a:ext cx="1181292" cy="620261"/>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7" name="TextBox 36">
            <a:extLst>
              <a:ext uri="{FF2B5EF4-FFF2-40B4-BE49-F238E27FC236}">
                <a16:creationId xmlns:a16="http://schemas.microsoft.com/office/drawing/2014/main" id="{18CC90AE-589D-4A06-4332-BC8C3BD82FA1}"/>
              </a:ext>
            </a:extLst>
          </p:cNvPr>
          <p:cNvSpPr txBox="1"/>
          <p:nvPr/>
        </p:nvSpPr>
        <p:spPr>
          <a:xfrm>
            <a:off x="6238944" y="1425524"/>
            <a:ext cx="64793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8</a:t>
            </a:r>
          </a:p>
        </p:txBody>
      </p:sp>
      <p:sp>
        <p:nvSpPr>
          <p:cNvPr id="38" name="TextBox 37">
            <a:extLst>
              <a:ext uri="{FF2B5EF4-FFF2-40B4-BE49-F238E27FC236}">
                <a16:creationId xmlns:a16="http://schemas.microsoft.com/office/drawing/2014/main" id="{EAA80695-BCA7-BC8C-A0E0-6A689D2C6EDA}"/>
              </a:ext>
            </a:extLst>
          </p:cNvPr>
          <p:cNvSpPr txBox="1"/>
          <p:nvPr/>
        </p:nvSpPr>
        <p:spPr>
          <a:xfrm>
            <a:off x="6242150" y="2118965"/>
            <a:ext cx="641522"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9</a:t>
            </a:r>
          </a:p>
        </p:txBody>
      </p:sp>
      <p:sp>
        <p:nvSpPr>
          <p:cNvPr id="39" name="TextBox 38">
            <a:extLst>
              <a:ext uri="{FF2B5EF4-FFF2-40B4-BE49-F238E27FC236}">
                <a16:creationId xmlns:a16="http://schemas.microsoft.com/office/drawing/2014/main" id="{0CA764B2-94A2-A249-6BA8-B08EDE1918D2}"/>
              </a:ext>
            </a:extLst>
          </p:cNvPr>
          <p:cNvSpPr txBox="1"/>
          <p:nvPr/>
        </p:nvSpPr>
        <p:spPr>
          <a:xfrm>
            <a:off x="6289439" y="2812406"/>
            <a:ext cx="546945" cy="523220"/>
          </a:xfrm>
          <a:prstGeom prst="rect">
            <a:avLst/>
          </a:prstGeom>
          <a:noFill/>
        </p:spPr>
        <p:txBody>
          <a:bodyPr wrap="none" rtlCol="0" anchor="ctr" anchorCtr="0">
            <a:spAutoFit/>
          </a:bodyPr>
          <a:lstStyle/>
          <a:p>
            <a:pPr algn="ctr"/>
            <a:r>
              <a:rPr lang="es-PE" sz="2800" b="1" dirty="0">
                <a:solidFill>
                  <a:schemeClr val="bg1"/>
                </a:solidFill>
                <a:latin typeface="Poppins SemiBold" pitchFamily="2" charset="77"/>
                <a:ea typeface="League Spartan" charset="0"/>
                <a:cs typeface="Poppins SemiBold" pitchFamily="2" charset="77"/>
              </a:rPr>
              <a:t>1</a:t>
            </a:r>
            <a:r>
              <a:rPr lang="en-US" sz="2800" b="1" dirty="0">
                <a:solidFill>
                  <a:schemeClr val="bg1"/>
                </a:solidFill>
                <a:latin typeface="Poppins SemiBold" pitchFamily="2" charset="77"/>
                <a:ea typeface="League Spartan" charset="0"/>
                <a:cs typeface="Poppins SemiBold" pitchFamily="2" charset="77"/>
              </a:rPr>
              <a:t>0</a:t>
            </a:r>
          </a:p>
        </p:txBody>
      </p:sp>
      <p:sp>
        <p:nvSpPr>
          <p:cNvPr id="40" name="TextBox 39">
            <a:hlinkClick r:id="rId9" action="ppaction://hlinksldjump"/>
            <a:extLst>
              <a:ext uri="{FF2B5EF4-FFF2-40B4-BE49-F238E27FC236}">
                <a16:creationId xmlns:a16="http://schemas.microsoft.com/office/drawing/2014/main" id="{ED9D5CEF-9EA9-486B-441E-C7523B9FA28D}"/>
              </a:ext>
            </a:extLst>
          </p:cNvPr>
          <p:cNvSpPr txBox="1"/>
          <p:nvPr/>
        </p:nvSpPr>
        <p:spPr>
          <a:xfrm>
            <a:off x="7316514" y="1543912"/>
            <a:ext cx="1960793"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M</a:t>
            </a:r>
            <a:r>
              <a:rPr lang="en-US" sz="1600" b="1" dirty="0" err="1">
                <a:solidFill>
                  <a:schemeClr val="tx2"/>
                </a:solidFill>
                <a:latin typeface="Poppins SemiBold" pitchFamily="2" charset="77"/>
                <a:ea typeface="League Spartan" charset="0"/>
                <a:cs typeface="Poppins SemiBold" pitchFamily="2" charset="77"/>
              </a:rPr>
              <a:t>apa</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Riesgos</a:t>
            </a:r>
            <a:endParaRPr lang="en-US" sz="1600" b="1" dirty="0">
              <a:solidFill>
                <a:schemeClr val="tx2"/>
              </a:solidFill>
              <a:latin typeface="Poppins SemiBold" pitchFamily="2" charset="77"/>
              <a:ea typeface="League Spartan" charset="0"/>
              <a:cs typeface="Poppins SemiBold" pitchFamily="2" charset="77"/>
            </a:endParaRPr>
          </a:p>
        </p:txBody>
      </p:sp>
      <p:sp>
        <p:nvSpPr>
          <p:cNvPr id="41" name="TextBox 40">
            <a:hlinkClick r:id="rId10" action="ppaction://hlinksldjump"/>
            <a:extLst>
              <a:ext uri="{FF2B5EF4-FFF2-40B4-BE49-F238E27FC236}">
                <a16:creationId xmlns:a16="http://schemas.microsoft.com/office/drawing/2014/main" id="{FC5209BF-3831-0CE8-1A2C-5C2156E5B981}"/>
              </a:ext>
            </a:extLst>
          </p:cNvPr>
          <p:cNvSpPr txBox="1"/>
          <p:nvPr/>
        </p:nvSpPr>
        <p:spPr>
          <a:xfrm>
            <a:off x="7358925" y="2113177"/>
            <a:ext cx="3338744" cy="584775"/>
          </a:xfrm>
          <a:prstGeom prst="rect">
            <a:avLst/>
          </a:prstGeom>
          <a:noFill/>
        </p:spPr>
        <p:txBody>
          <a:bodyPr wrap="squar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dirty="0"/>
              <a:t>Procedimientos escritos de Trabajo Seguro (PETS)</a:t>
            </a:r>
            <a:endParaRPr lang="en-US" altLang="en-US" dirty="0"/>
          </a:p>
        </p:txBody>
      </p:sp>
      <p:sp>
        <p:nvSpPr>
          <p:cNvPr id="43" name="Rectangle 42">
            <a:extLst>
              <a:ext uri="{FF2B5EF4-FFF2-40B4-BE49-F238E27FC236}">
                <a16:creationId xmlns:a16="http://schemas.microsoft.com/office/drawing/2014/main" id="{5EB0B910-CC0C-217D-A935-1227558E27D1}"/>
              </a:ext>
            </a:extLst>
          </p:cNvPr>
          <p:cNvSpPr/>
          <p:nvPr/>
        </p:nvSpPr>
        <p:spPr>
          <a:xfrm>
            <a:off x="6098594" y="3467217"/>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4" name="Pentagon 3">
            <a:extLst>
              <a:ext uri="{FF2B5EF4-FFF2-40B4-BE49-F238E27FC236}">
                <a16:creationId xmlns:a16="http://schemas.microsoft.com/office/drawing/2014/main" id="{D059954C-736A-6FA2-BD73-E7D74C71AEF7}"/>
              </a:ext>
            </a:extLst>
          </p:cNvPr>
          <p:cNvSpPr/>
          <p:nvPr/>
        </p:nvSpPr>
        <p:spPr>
          <a:xfrm>
            <a:off x="6098594" y="3467217"/>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5" name="TextBox 44">
            <a:extLst>
              <a:ext uri="{FF2B5EF4-FFF2-40B4-BE49-F238E27FC236}">
                <a16:creationId xmlns:a16="http://schemas.microsoft.com/office/drawing/2014/main" id="{BD30C2CA-2BE0-6B9F-42D4-F940226EF2D4}"/>
              </a:ext>
            </a:extLst>
          </p:cNvPr>
          <p:cNvSpPr txBox="1"/>
          <p:nvPr/>
        </p:nvSpPr>
        <p:spPr>
          <a:xfrm>
            <a:off x="6340735" y="3505847"/>
            <a:ext cx="444352" cy="523220"/>
          </a:xfrm>
          <a:prstGeom prst="rect">
            <a:avLst/>
          </a:prstGeom>
          <a:noFill/>
        </p:spPr>
        <p:txBody>
          <a:bodyPr wrap="none" rtlCol="0" anchor="ctr" anchorCtr="0">
            <a:spAutoFit/>
          </a:bodyPr>
          <a:lstStyle/>
          <a:p>
            <a:pPr algn="ctr"/>
            <a:r>
              <a:rPr lang="es-PE" sz="2800" b="1" dirty="0">
                <a:solidFill>
                  <a:schemeClr val="bg1"/>
                </a:solidFill>
                <a:latin typeface="Poppins SemiBold" pitchFamily="2" charset="77"/>
                <a:ea typeface="League Spartan" charset="0"/>
                <a:cs typeface="Poppins SemiBold" pitchFamily="2" charset="77"/>
              </a:rPr>
              <a:t>1</a:t>
            </a:r>
            <a:r>
              <a:rPr lang="en-US" sz="2800" b="1" dirty="0">
                <a:solidFill>
                  <a:schemeClr val="bg1"/>
                </a:solidFill>
                <a:latin typeface="Poppins SemiBold" pitchFamily="2" charset="77"/>
                <a:ea typeface="League Spartan" charset="0"/>
                <a:cs typeface="Poppins SemiBold" pitchFamily="2" charset="77"/>
              </a:rPr>
              <a:t>1</a:t>
            </a:r>
          </a:p>
        </p:txBody>
      </p:sp>
      <p:sp>
        <p:nvSpPr>
          <p:cNvPr id="46" name="TextBox 45">
            <a:hlinkClick r:id="rId11" action="ppaction://hlinksldjump"/>
            <a:extLst>
              <a:ext uri="{FF2B5EF4-FFF2-40B4-BE49-F238E27FC236}">
                <a16:creationId xmlns:a16="http://schemas.microsoft.com/office/drawing/2014/main" id="{0FDB3227-D9A9-3F29-B4E9-E7AC075DE48C}"/>
              </a:ext>
            </a:extLst>
          </p:cNvPr>
          <p:cNvSpPr txBox="1"/>
          <p:nvPr/>
        </p:nvSpPr>
        <p:spPr>
          <a:xfrm>
            <a:off x="7316514" y="2892664"/>
            <a:ext cx="2462534" cy="338554"/>
          </a:xfrm>
          <a:prstGeom prst="rect">
            <a:avLst/>
          </a:prstGeom>
          <a:noFill/>
        </p:spPr>
        <p:txBody>
          <a:bodyPr wrap="non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Reporte</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Incidentes</a:t>
            </a:r>
            <a:endParaRPr lang="en-US" sz="1600" b="1" dirty="0">
              <a:solidFill>
                <a:schemeClr val="tx2"/>
              </a:solidFill>
              <a:latin typeface="Poppins SemiBold" pitchFamily="2" charset="77"/>
              <a:ea typeface="League Spartan" charset="0"/>
              <a:cs typeface="Poppins SemiBold" pitchFamily="2" charset="77"/>
            </a:endParaRPr>
          </a:p>
        </p:txBody>
      </p:sp>
      <p:sp>
        <p:nvSpPr>
          <p:cNvPr id="47" name="Rectangle 46">
            <a:extLst>
              <a:ext uri="{FF2B5EF4-FFF2-40B4-BE49-F238E27FC236}">
                <a16:creationId xmlns:a16="http://schemas.microsoft.com/office/drawing/2014/main" id="{B08AC6EA-CFD2-20A3-92C2-6E247783B249}"/>
              </a:ext>
            </a:extLst>
          </p:cNvPr>
          <p:cNvSpPr/>
          <p:nvPr/>
        </p:nvSpPr>
        <p:spPr>
          <a:xfrm>
            <a:off x="6098595" y="4161579"/>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8" name="Pentagon 11">
            <a:extLst>
              <a:ext uri="{FF2B5EF4-FFF2-40B4-BE49-F238E27FC236}">
                <a16:creationId xmlns:a16="http://schemas.microsoft.com/office/drawing/2014/main" id="{C7283189-D9D8-8A83-460E-4FBCAF8B22B4}"/>
              </a:ext>
            </a:extLst>
          </p:cNvPr>
          <p:cNvSpPr/>
          <p:nvPr/>
        </p:nvSpPr>
        <p:spPr>
          <a:xfrm>
            <a:off x="6098595" y="4161579"/>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9" name="TextBox 48">
            <a:extLst>
              <a:ext uri="{FF2B5EF4-FFF2-40B4-BE49-F238E27FC236}">
                <a16:creationId xmlns:a16="http://schemas.microsoft.com/office/drawing/2014/main" id="{C5765B43-108D-5794-8018-2DBA4173FAC2}"/>
              </a:ext>
            </a:extLst>
          </p:cNvPr>
          <p:cNvSpPr txBox="1"/>
          <p:nvPr/>
        </p:nvSpPr>
        <p:spPr>
          <a:xfrm>
            <a:off x="6302264" y="4200209"/>
            <a:ext cx="521297" cy="523220"/>
          </a:xfrm>
          <a:prstGeom prst="rect">
            <a:avLst/>
          </a:prstGeom>
          <a:noFill/>
        </p:spPr>
        <p:txBody>
          <a:bodyPr wrap="none" rtlCol="0" anchor="ctr" anchorCtr="0">
            <a:spAutoFit/>
          </a:bodyPr>
          <a:lstStyle/>
          <a:p>
            <a:pPr algn="ctr"/>
            <a:r>
              <a:rPr lang="es-PE" sz="2800" b="1" dirty="0">
                <a:solidFill>
                  <a:schemeClr val="bg1"/>
                </a:solidFill>
                <a:latin typeface="Poppins SemiBold" pitchFamily="2" charset="77"/>
                <a:ea typeface="League Spartan" charset="0"/>
                <a:cs typeface="Poppins SemiBold" pitchFamily="2" charset="77"/>
              </a:rPr>
              <a:t>1</a:t>
            </a:r>
            <a:r>
              <a:rPr lang="en-US" sz="2800" b="1" dirty="0">
                <a:solidFill>
                  <a:schemeClr val="bg1"/>
                </a:solidFill>
                <a:latin typeface="Poppins SemiBold" pitchFamily="2" charset="77"/>
                <a:ea typeface="League Spartan" charset="0"/>
                <a:cs typeface="Poppins SemiBold" pitchFamily="2" charset="77"/>
              </a:rPr>
              <a:t>2</a:t>
            </a:r>
          </a:p>
        </p:txBody>
      </p:sp>
      <p:sp>
        <p:nvSpPr>
          <p:cNvPr id="50" name="TextBox 49">
            <a:hlinkClick r:id="rId12" action="ppaction://hlinksldjump"/>
            <a:extLst>
              <a:ext uri="{FF2B5EF4-FFF2-40B4-BE49-F238E27FC236}">
                <a16:creationId xmlns:a16="http://schemas.microsoft.com/office/drawing/2014/main" id="{BCF4E7EA-08A7-F578-F670-6C30B6163011}"/>
              </a:ext>
            </a:extLst>
          </p:cNvPr>
          <p:cNvSpPr txBox="1"/>
          <p:nvPr/>
        </p:nvSpPr>
        <p:spPr>
          <a:xfrm>
            <a:off x="7358925" y="3625530"/>
            <a:ext cx="2735044" cy="338554"/>
          </a:xfrm>
          <a:prstGeom prst="rect">
            <a:avLst/>
          </a:prstGeom>
          <a:noFill/>
        </p:spPr>
        <p:txBody>
          <a:bodyPr wrap="non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Reporte</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Emergencias</a:t>
            </a:r>
            <a:endParaRPr lang="en-US" sz="1600" b="1" dirty="0">
              <a:solidFill>
                <a:schemeClr val="tx2"/>
              </a:solidFill>
              <a:latin typeface="Poppins SemiBold" pitchFamily="2" charset="77"/>
              <a:ea typeface="League Spartan" charset="0"/>
              <a:cs typeface="Poppins SemiBold" pitchFamily="2" charset="77"/>
            </a:endParaRPr>
          </a:p>
        </p:txBody>
      </p:sp>
      <p:sp>
        <p:nvSpPr>
          <p:cNvPr id="51" name="Rectangle 50">
            <a:extLst>
              <a:ext uri="{FF2B5EF4-FFF2-40B4-BE49-F238E27FC236}">
                <a16:creationId xmlns:a16="http://schemas.microsoft.com/office/drawing/2014/main" id="{67A2FE62-8D98-C4D4-F545-8D1A21F697C9}"/>
              </a:ext>
            </a:extLst>
          </p:cNvPr>
          <p:cNvSpPr/>
          <p:nvPr/>
        </p:nvSpPr>
        <p:spPr>
          <a:xfrm>
            <a:off x="6096000" y="4852375"/>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52" name="Pentagon 17">
            <a:extLst>
              <a:ext uri="{FF2B5EF4-FFF2-40B4-BE49-F238E27FC236}">
                <a16:creationId xmlns:a16="http://schemas.microsoft.com/office/drawing/2014/main" id="{924423CB-1D1D-02C1-8D4E-ED67F0EA7BC9}"/>
              </a:ext>
            </a:extLst>
          </p:cNvPr>
          <p:cNvSpPr/>
          <p:nvPr/>
        </p:nvSpPr>
        <p:spPr>
          <a:xfrm>
            <a:off x="6096000" y="4852375"/>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55" name="TextBox 54">
            <a:extLst>
              <a:ext uri="{FF2B5EF4-FFF2-40B4-BE49-F238E27FC236}">
                <a16:creationId xmlns:a16="http://schemas.microsoft.com/office/drawing/2014/main" id="{866D142A-A49E-5485-0DE8-4E04BC5ABDA2}"/>
              </a:ext>
            </a:extLst>
          </p:cNvPr>
          <p:cNvSpPr txBox="1"/>
          <p:nvPr/>
        </p:nvSpPr>
        <p:spPr>
          <a:xfrm>
            <a:off x="6295661" y="4891005"/>
            <a:ext cx="529312" cy="523220"/>
          </a:xfrm>
          <a:prstGeom prst="rect">
            <a:avLst/>
          </a:prstGeom>
          <a:noFill/>
        </p:spPr>
        <p:txBody>
          <a:bodyPr wrap="none" rtlCol="0" anchor="ctr" anchorCtr="0">
            <a:spAutoFit/>
          </a:bodyPr>
          <a:lstStyle/>
          <a:p>
            <a:pPr algn="ctr"/>
            <a:r>
              <a:rPr lang="es-PE" sz="2800" b="1" dirty="0">
                <a:solidFill>
                  <a:schemeClr val="bg1"/>
                </a:solidFill>
                <a:latin typeface="Poppins SemiBold" pitchFamily="2" charset="77"/>
                <a:ea typeface="League Spartan" charset="0"/>
                <a:cs typeface="Poppins SemiBold" pitchFamily="2" charset="77"/>
              </a:rPr>
              <a:t>1</a:t>
            </a:r>
            <a:r>
              <a:rPr lang="en-US" sz="2800" b="1" dirty="0">
                <a:solidFill>
                  <a:schemeClr val="bg1"/>
                </a:solidFill>
                <a:latin typeface="Poppins SemiBold" pitchFamily="2" charset="77"/>
                <a:ea typeface="League Spartan" charset="0"/>
                <a:cs typeface="Poppins SemiBold" pitchFamily="2" charset="77"/>
              </a:rPr>
              <a:t>3</a:t>
            </a:r>
          </a:p>
        </p:txBody>
      </p:sp>
      <p:sp>
        <p:nvSpPr>
          <p:cNvPr id="57" name="TextBox 56">
            <a:hlinkClick r:id="rId11" action="ppaction://hlinksldjump"/>
            <a:extLst>
              <a:ext uri="{FF2B5EF4-FFF2-40B4-BE49-F238E27FC236}">
                <a16:creationId xmlns:a16="http://schemas.microsoft.com/office/drawing/2014/main" id="{7DF3E681-0FA0-1ADB-45F4-B69F138B3A3A}"/>
              </a:ext>
            </a:extLst>
          </p:cNvPr>
          <p:cNvSpPr txBox="1"/>
          <p:nvPr/>
        </p:nvSpPr>
        <p:spPr>
          <a:xfrm>
            <a:off x="7440374" y="4279503"/>
            <a:ext cx="2444900" cy="338554"/>
          </a:xfrm>
          <a:prstGeom prst="rect">
            <a:avLst/>
          </a:prstGeom>
          <a:noFill/>
        </p:spPr>
        <p:txBody>
          <a:bodyPr wrap="non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Gestión</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Incidentes</a:t>
            </a:r>
            <a:endParaRPr lang="en-US" sz="1600" b="1" dirty="0">
              <a:solidFill>
                <a:schemeClr val="tx2"/>
              </a:solidFill>
              <a:latin typeface="Poppins SemiBold" pitchFamily="2" charset="77"/>
              <a:ea typeface="League Spartan" charset="0"/>
              <a:cs typeface="Poppins SemiBold" pitchFamily="2" charset="77"/>
            </a:endParaRPr>
          </a:p>
        </p:txBody>
      </p:sp>
      <p:sp>
        <p:nvSpPr>
          <p:cNvPr id="61" name="TextBox 60">
            <a:extLst>
              <a:ext uri="{FF2B5EF4-FFF2-40B4-BE49-F238E27FC236}">
                <a16:creationId xmlns:a16="http://schemas.microsoft.com/office/drawing/2014/main" id="{228F16BB-8111-4D0A-D181-B7876F0CF339}"/>
              </a:ext>
            </a:extLst>
          </p:cNvPr>
          <p:cNvSpPr txBox="1"/>
          <p:nvPr/>
        </p:nvSpPr>
        <p:spPr>
          <a:xfrm>
            <a:off x="6259082" y="5627660"/>
            <a:ext cx="55175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14</a:t>
            </a:r>
          </a:p>
        </p:txBody>
      </p:sp>
      <p:sp>
        <p:nvSpPr>
          <p:cNvPr id="62" name="TextBox 61">
            <a:hlinkClick r:id="rId13" action="ppaction://hlinksldjump"/>
            <a:extLst>
              <a:ext uri="{FF2B5EF4-FFF2-40B4-BE49-F238E27FC236}">
                <a16:creationId xmlns:a16="http://schemas.microsoft.com/office/drawing/2014/main" id="{14C3B670-CD14-2F6B-2370-ABF5D7D9D54C}"/>
              </a:ext>
            </a:extLst>
          </p:cNvPr>
          <p:cNvSpPr txBox="1"/>
          <p:nvPr/>
        </p:nvSpPr>
        <p:spPr>
          <a:xfrm>
            <a:off x="7440374" y="4975534"/>
            <a:ext cx="2901756" cy="338554"/>
          </a:xfrm>
          <a:prstGeom prst="rect">
            <a:avLst/>
          </a:prstGeom>
          <a:noFill/>
        </p:spPr>
        <p:txBody>
          <a:bodyPr wrap="none" rtlCol="0" anchor="b" anchorCtr="0">
            <a:spAutoFit/>
          </a:bodyPr>
          <a:lstStyle/>
          <a:p>
            <a:r>
              <a:rPr lang="en-US" sz="1600" b="1" dirty="0" err="1">
                <a:solidFill>
                  <a:schemeClr val="tx2"/>
                </a:solidFill>
                <a:latin typeface="Poppins SemiBold" pitchFamily="2" charset="77"/>
                <a:ea typeface="League Spartan" charset="0"/>
                <a:cs typeface="Poppins SemiBold" pitchFamily="2" charset="77"/>
              </a:rPr>
              <a:t>Charlas</a:t>
            </a:r>
            <a:r>
              <a:rPr lang="en-US" sz="1600" b="1" dirty="0">
                <a:solidFill>
                  <a:schemeClr val="tx2"/>
                </a:solidFill>
                <a:latin typeface="Poppins SemiBold" pitchFamily="2" charset="77"/>
                <a:ea typeface="League Spartan" charset="0"/>
                <a:cs typeface="Poppins SemiBold" pitchFamily="2" charset="77"/>
              </a:rPr>
              <a:t> de </a:t>
            </a:r>
            <a:r>
              <a:rPr lang="en-US" sz="1600" b="1" dirty="0" err="1">
                <a:solidFill>
                  <a:schemeClr val="tx2"/>
                </a:solidFill>
                <a:latin typeface="Poppins SemiBold" pitchFamily="2" charset="77"/>
                <a:ea typeface="League Spartan" charset="0"/>
                <a:cs typeface="Poppins SemiBold" pitchFamily="2" charset="77"/>
              </a:rPr>
              <a:t>Reforzamiento</a:t>
            </a:r>
            <a:endParaRPr lang="en-US" sz="1600" b="1" dirty="0">
              <a:solidFill>
                <a:schemeClr val="tx2"/>
              </a:solidFill>
              <a:latin typeface="Poppins SemiBold" pitchFamily="2" charset="77"/>
              <a:ea typeface="League Spartan" charset="0"/>
              <a:cs typeface="Poppins SemiBold" pitchFamily="2" charset="77"/>
            </a:endParaRPr>
          </a:p>
        </p:txBody>
      </p:sp>
    </p:spTree>
    <p:extLst>
      <p:ext uri="{BB962C8B-B14F-4D97-AF65-F5344CB8AC3E}">
        <p14:creationId xmlns:p14="http://schemas.microsoft.com/office/powerpoint/2010/main" val="35411386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2963252"/>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sz="2800" dirty="0">
                <a:solidFill>
                  <a:schemeClr val="bg1"/>
                </a:solidFill>
              </a:rPr>
              <a:t>Procedimientos escritos de Trabajo Seguro (PETS)</a:t>
            </a:r>
            <a:endParaRPr lang="en-US" altLang="en-US" sz="2800" dirty="0">
              <a:solidFill>
                <a:schemeClr val="bg1"/>
              </a:solidFill>
              <a:latin typeface="Abadi" panose="020B0604020104020204" pitchFamily="34" charset="0"/>
            </a:endParaRPr>
          </a:p>
        </p:txBody>
      </p:sp>
    </p:spTree>
    <p:extLst>
      <p:ext uri="{BB962C8B-B14F-4D97-AF65-F5344CB8AC3E}">
        <p14:creationId xmlns:p14="http://schemas.microsoft.com/office/powerpoint/2010/main" val="16677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5986-1880-ABB9-861B-9DAA3A7C4A2A}"/>
              </a:ext>
            </a:extLst>
          </p:cNvPr>
          <p:cNvSpPr>
            <a:spLocks noGrp="1"/>
          </p:cNvSpPr>
          <p:nvPr>
            <p:ph type="title"/>
          </p:nvPr>
        </p:nvSpPr>
        <p:spPr>
          <a:xfrm>
            <a:off x="259733" y="325229"/>
            <a:ext cx="8779076" cy="607555"/>
          </a:xfrm>
        </p:spPr>
        <p:txBody>
          <a:bodyPr/>
          <a:lstStyle/>
          <a:p>
            <a:r>
              <a:rPr lang="es-PE" sz="2800" dirty="0"/>
              <a:t>Procedimientos escritos de Trabajo Seguro (PETS)</a:t>
            </a:r>
            <a:endParaRPr lang="en-US" sz="2800" dirty="0"/>
          </a:p>
        </p:txBody>
      </p:sp>
      <p:cxnSp>
        <p:nvCxnSpPr>
          <p:cNvPr id="3" name="Conector recto 54">
            <a:extLst>
              <a:ext uri="{FF2B5EF4-FFF2-40B4-BE49-F238E27FC236}">
                <a16:creationId xmlns:a16="http://schemas.microsoft.com/office/drawing/2014/main" id="{133BBB84-8A07-ACDC-F45C-FB8F20D32F5E}"/>
              </a:ext>
            </a:extLst>
          </p:cNvPr>
          <p:cNvCxnSpPr>
            <a:cxnSpLocks/>
          </p:cNvCxnSpPr>
          <p:nvPr/>
        </p:nvCxnSpPr>
        <p:spPr>
          <a:xfrm flipH="1">
            <a:off x="6340286" y="5431462"/>
            <a:ext cx="3037" cy="111267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 name="Conector recto 53">
            <a:extLst>
              <a:ext uri="{FF2B5EF4-FFF2-40B4-BE49-F238E27FC236}">
                <a16:creationId xmlns:a16="http://schemas.microsoft.com/office/drawing/2014/main" id="{F18A587F-A43C-9E2C-9561-31CE244F5AA5}"/>
              </a:ext>
            </a:extLst>
          </p:cNvPr>
          <p:cNvCxnSpPr>
            <a:cxnSpLocks/>
          </p:cNvCxnSpPr>
          <p:nvPr/>
        </p:nvCxnSpPr>
        <p:spPr>
          <a:xfrm>
            <a:off x="5199271" y="3816711"/>
            <a:ext cx="0" cy="152345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 name="Conector recto 51">
            <a:extLst>
              <a:ext uri="{FF2B5EF4-FFF2-40B4-BE49-F238E27FC236}">
                <a16:creationId xmlns:a16="http://schemas.microsoft.com/office/drawing/2014/main" id="{71F274B5-8FF9-4949-19FB-E4F367652594}"/>
              </a:ext>
            </a:extLst>
          </p:cNvPr>
          <p:cNvCxnSpPr/>
          <p:nvPr/>
        </p:nvCxnSpPr>
        <p:spPr>
          <a:xfrm>
            <a:off x="5199271" y="2746561"/>
            <a:ext cx="0" cy="67944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Conector recto 50">
            <a:extLst>
              <a:ext uri="{FF2B5EF4-FFF2-40B4-BE49-F238E27FC236}">
                <a16:creationId xmlns:a16="http://schemas.microsoft.com/office/drawing/2014/main" id="{4FFB4874-25DF-6C93-E7AF-6C109007AE44}"/>
              </a:ext>
            </a:extLst>
          </p:cNvPr>
          <p:cNvCxnSpPr/>
          <p:nvPr/>
        </p:nvCxnSpPr>
        <p:spPr>
          <a:xfrm>
            <a:off x="6343323" y="1551983"/>
            <a:ext cx="0" cy="6794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Conector recto 46">
            <a:extLst>
              <a:ext uri="{FF2B5EF4-FFF2-40B4-BE49-F238E27FC236}">
                <a16:creationId xmlns:a16="http://schemas.microsoft.com/office/drawing/2014/main" id="{1B24891A-7CEF-9CE5-C95E-C167C213889D}"/>
              </a:ext>
            </a:extLst>
          </p:cNvPr>
          <p:cNvCxnSpPr/>
          <p:nvPr/>
        </p:nvCxnSpPr>
        <p:spPr>
          <a:xfrm>
            <a:off x="6042257" y="6024393"/>
            <a:ext cx="22651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Conector recto 45">
            <a:extLst>
              <a:ext uri="{FF2B5EF4-FFF2-40B4-BE49-F238E27FC236}">
                <a16:creationId xmlns:a16="http://schemas.microsoft.com/office/drawing/2014/main" id="{809B9B4C-9FD7-F08F-057E-F99EA492FEA6}"/>
              </a:ext>
            </a:extLst>
          </p:cNvPr>
          <p:cNvCxnSpPr/>
          <p:nvPr/>
        </p:nvCxnSpPr>
        <p:spPr>
          <a:xfrm>
            <a:off x="4921143" y="5335392"/>
            <a:ext cx="22651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Freeform 1">
            <a:extLst>
              <a:ext uri="{FF2B5EF4-FFF2-40B4-BE49-F238E27FC236}">
                <a16:creationId xmlns:a16="http://schemas.microsoft.com/office/drawing/2014/main" id="{513F93DB-CE19-D782-6F63-07A600CA993D}"/>
              </a:ext>
            </a:extLst>
          </p:cNvPr>
          <p:cNvSpPr>
            <a:spLocks noChangeArrowheads="1"/>
          </p:cNvSpPr>
          <p:nvPr/>
        </p:nvSpPr>
        <p:spPr bwMode="auto">
          <a:xfrm rot="5400000">
            <a:off x="1019078" y="2917829"/>
            <a:ext cx="2740482" cy="2259431"/>
          </a:xfrm>
          <a:custGeom>
            <a:avLst/>
            <a:gdLst>
              <a:gd name="T0" fmla="*/ 2147483646 w 10120"/>
              <a:gd name="T1" fmla="*/ 2147483646 h 6948"/>
              <a:gd name="T2" fmla="*/ 0 w 10120"/>
              <a:gd name="T3" fmla="*/ 2147483646 h 6948"/>
              <a:gd name="T4" fmla="*/ 2147483646 w 10120"/>
              <a:gd name="T5" fmla="*/ 0 h 6948"/>
              <a:gd name="T6" fmla="*/ 2147483646 w 10120"/>
              <a:gd name="T7" fmla="*/ 2147483646 h 6948"/>
              <a:gd name="T8" fmla="*/ 2147483646 w 10120"/>
              <a:gd name="T9" fmla="*/ 2147483646 h 69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120" h="6948">
                <a:moveTo>
                  <a:pt x="333" y="6871"/>
                </a:moveTo>
                <a:cubicBezTo>
                  <a:pt x="93" y="6281"/>
                  <a:pt x="0" y="5736"/>
                  <a:pt x="0" y="5060"/>
                </a:cubicBezTo>
                <a:cubicBezTo>
                  <a:pt x="0" y="2265"/>
                  <a:pt x="2265" y="0"/>
                  <a:pt x="5060" y="0"/>
                </a:cubicBezTo>
                <a:cubicBezTo>
                  <a:pt x="7854" y="0"/>
                  <a:pt x="10119" y="2265"/>
                  <a:pt x="10119" y="5060"/>
                </a:cubicBezTo>
                <a:cubicBezTo>
                  <a:pt x="10119" y="5736"/>
                  <a:pt x="9995" y="6358"/>
                  <a:pt x="9755" y="6947"/>
                </a:cubicBezTo>
              </a:path>
            </a:pathLst>
          </a:custGeom>
          <a:noFill/>
          <a:ln w="57150" cap="flat">
            <a:solidFill>
              <a:schemeClr val="accent6">
                <a:lumMod val="7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p>
        </p:txBody>
      </p:sp>
      <p:sp>
        <p:nvSpPr>
          <p:cNvPr id="12" name="Freeform 2">
            <a:extLst>
              <a:ext uri="{FF2B5EF4-FFF2-40B4-BE49-F238E27FC236}">
                <a16:creationId xmlns:a16="http://schemas.microsoft.com/office/drawing/2014/main" id="{6FAC1333-AFDA-8B78-B60A-353307A90C0F}"/>
              </a:ext>
            </a:extLst>
          </p:cNvPr>
          <p:cNvSpPr>
            <a:spLocks noChangeArrowheads="1"/>
          </p:cNvSpPr>
          <p:nvPr/>
        </p:nvSpPr>
        <p:spPr bwMode="auto">
          <a:xfrm rot="5400000">
            <a:off x="1043890" y="2960839"/>
            <a:ext cx="2587636" cy="2173412"/>
          </a:xfrm>
          <a:custGeom>
            <a:avLst/>
            <a:gdLst>
              <a:gd name="T0" fmla="*/ 2147483646 w 9555"/>
              <a:gd name="T1" fmla="*/ 2147483646 h 6683"/>
              <a:gd name="T2" fmla="*/ 2147483646 w 9555"/>
              <a:gd name="T3" fmla="*/ 0 h 6683"/>
              <a:gd name="T4" fmla="*/ 0 w 9555"/>
              <a:gd name="T5" fmla="*/ 2147483646 h 6683"/>
              <a:gd name="T6" fmla="*/ 2147483646 w 9555"/>
              <a:gd name="T7" fmla="*/ 2147483646 h 6683"/>
              <a:gd name="T8" fmla="*/ 2147483646 w 9555"/>
              <a:gd name="T9" fmla="*/ 2147483646 h 6683"/>
              <a:gd name="T10" fmla="*/ 2147483646 w 9555"/>
              <a:gd name="T11" fmla="*/ 2147483646 h 668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555" h="6683">
                <a:moveTo>
                  <a:pt x="9554" y="4776"/>
                </a:moveTo>
                <a:cubicBezTo>
                  <a:pt x="9554" y="2138"/>
                  <a:pt x="7415" y="0"/>
                  <a:pt x="4777" y="0"/>
                </a:cubicBezTo>
                <a:cubicBezTo>
                  <a:pt x="2139" y="0"/>
                  <a:pt x="0" y="2138"/>
                  <a:pt x="0" y="4776"/>
                </a:cubicBezTo>
                <a:cubicBezTo>
                  <a:pt x="0" y="5453"/>
                  <a:pt x="141" y="6098"/>
                  <a:pt x="395" y="6682"/>
                </a:cubicBezTo>
                <a:lnTo>
                  <a:pt x="9158" y="6682"/>
                </a:lnTo>
                <a:cubicBezTo>
                  <a:pt x="9413" y="6098"/>
                  <a:pt x="9554" y="5453"/>
                  <a:pt x="9554" y="4776"/>
                </a:cubicBezTo>
              </a:path>
            </a:pathLst>
          </a:custGeom>
          <a:solidFill>
            <a:schemeClr val="accent6">
              <a:lumMod val="75000"/>
            </a:schemeClr>
          </a:solidFill>
          <a:ln>
            <a:solidFill>
              <a:schemeClr val="accent6">
                <a:lumMod val="75000"/>
              </a:schemeClr>
            </a:solidFill>
          </a:ln>
          <a:effectLst/>
        </p:spPr>
        <p:txBody>
          <a:bodyPr wrap="none" anchor="ctr"/>
          <a:lstStyle/>
          <a:p>
            <a:endParaRPr lang="en-US" sz="700"/>
          </a:p>
        </p:txBody>
      </p:sp>
      <p:sp>
        <p:nvSpPr>
          <p:cNvPr id="13" name="Freeform 3">
            <a:extLst>
              <a:ext uri="{FF2B5EF4-FFF2-40B4-BE49-F238E27FC236}">
                <a16:creationId xmlns:a16="http://schemas.microsoft.com/office/drawing/2014/main" id="{F87F025A-FCF5-548D-8040-87E663D2D55C}"/>
              </a:ext>
            </a:extLst>
          </p:cNvPr>
          <p:cNvSpPr>
            <a:spLocks noChangeArrowheads="1"/>
          </p:cNvSpPr>
          <p:nvPr/>
        </p:nvSpPr>
        <p:spPr bwMode="auto">
          <a:xfrm rot="5400000">
            <a:off x="5148310" y="1656131"/>
            <a:ext cx="692584" cy="831516"/>
          </a:xfrm>
          <a:custGeom>
            <a:avLst/>
            <a:gdLst>
              <a:gd name="T0" fmla="*/ 2147483646 w 2556"/>
              <a:gd name="T1" fmla="*/ 2147483646 h 2556"/>
              <a:gd name="T2" fmla="*/ 2147483646 w 2556"/>
              <a:gd name="T3" fmla="*/ 2147483646 h 2556"/>
              <a:gd name="T4" fmla="*/ 0 w 2556"/>
              <a:gd name="T5" fmla="*/ 2147483646 h 2556"/>
              <a:gd name="T6" fmla="*/ 2147483646 w 2556"/>
              <a:gd name="T7" fmla="*/ 0 h 2556"/>
              <a:gd name="T8" fmla="*/ 2147483646 w 2556"/>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6" h="2556">
                <a:moveTo>
                  <a:pt x="2555" y="1277"/>
                </a:moveTo>
                <a:cubicBezTo>
                  <a:pt x="2555" y="1983"/>
                  <a:pt x="1982" y="2555"/>
                  <a:pt x="1277" y="2555"/>
                </a:cubicBezTo>
                <a:cubicBezTo>
                  <a:pt x="572" y="2555"/>
                  <a:pt x="0" y="1983"/>
                  <a:pt x="0" y="1277"/>
                </a:cubicBezTo>
                <a:cubicBezTo>
                  <a:pt x="0" y="572"/>
                  <a:pt x="572" y="0"/>
                  <a:pt x="1277" y="0"/>
                </a:cubicBezTo>
                <a:cubicBezTo>
                  <a:pt x="1982" y="0"/>
                  <a:pt x="2555" y="572"/>
                  <a:pt x="2555" y="1277"/>
                </a:cubicBezTo>
              </a:path>
            </a:pathLst>
          </a:custGeom>
          <a:solidFill>
            <a:schemeClr val="accent1"/>
          </a:solidFill>
          <a:ln>
            <a:noFill/>
          </a:ln>
          <a:effectLst/>
        </p:spPr>
        <p:txBody>
          <a:bodyPr wrap="none" anchor="ctr"/>
          <a:lstStyle/>
          <a:p>
            <a:endParaRPr lang="en-US" sz="700"/>
          </a:p>
        </p:txBody>
      </p:sp>
      <p:sp>
        <p:nvSpPr>
          <p:cNvPr id="14" name="Freeform 4">
            <a:extLst>
              <a:ext uri="{FF2B5EF4-FFF2-40B4-BE49-F238E27FC236}">
                <a16:creationId xmlns:a16="http://schemas.microsoft.com/office/drawing/2014/main" id="{1BF5736E-F9D9-62E1-CB49-0765518093A8}"/>
              </a:ext>
            </a:extLst>
          </p:cNvPr>
          <p:cNvSpPr>
            <a:spLocks noChangeArrowheads="1"/>
          </p:cNvSpPr>
          <p:nvPr/>
        </p:nvSpPr>
        <p:spPr bwMode="auto">
          <a:xfrm rot="5400000">
            <a:off x="3295128" y="959631"/>
            <a:ext cx="404804" cy="2643649"/>
          </a:xfrm>
          <a:custGeom>
            <a:avLst/>
            <a:gdLst>
              <a:gd name="T0" fmla="*/ 2147483646 w 1497"/>
              <a:gd name="T1" fmla="*/ 2147483646 h 8130"/>
              <a:gd name="T2" fmla="*/ 0 w 1497"/>
              <a:gd name="T3" fmla="*/ 2147483646 h 8130"/>
              <a:gd name="T4" fmla="*/ 0 w 1497"/>
              <a:gd name="T5" fmla="*/ 0 h 8130"/>
              <a:gd name="T6" fmla="*/ 0 60000 65536"/>
              <a:gd name="T7" fmla="*/ 0 60000 65536"/>
              <a:gd name="T8" fmla="*/ 0 60000 65536"/>
            </a:gdLst>
            <a:ahLst/>
            <a:cxnLst>
              <a:cxn ang="T6">
                <a:pos x="T0" y="T1"/>
              </a:cxn>
              <a:cxn ang="T7">
                <a:pos x="T2" y="T3"/>
              </a:cxn>
              <a:cxn ang="T8">
                <a:pos x="T4" y="T5"/>
              </a:cxn>
            </a:cxnLst>
            <a:rect l="0" t="0" r="r" b="b"/>
            <a:pathLst>
              <a:path w="1497" h="8130">
                <a:moveTo>
                  <a:pt x="1496" y="8129"/>
                </a:moveTo>
                <a:lnTo>
                  <a:pt x="0" y="8129"/>
                </a:lnTo>
                <a:lnTo>
                  <a:pt x="0" y="0"/>
                </a:ln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p>
        </p:txBody>
      </p:sp>
      <p:sp>
        <p:nvSpPr>
          <p:cNvPr id="15" name="Freeform 5">
            <a:extLst>
              <a:ext uri="{FF2B5EF4-FFF2-40B4-BE49-F238E27FC236}">
                <a16:creationId xmlns:a16="http://schemas.microsoft.com/office/drawing/2014/main" id="{06E8CC14-C89A-C8BC-1061-FBE1E010593A}"/>
              </a:ext>
            </a:extLst>
          </p:cNvPr>
          <p:cNvSpPr>
            <a:spLocks noChangeArrowheads="1"/>
          </p:cNvSpPr>
          <p:nvPr/>
        </p:nvSpPr>
        <p:spPr bwMode="auto">
          <a:xfrm rot="5400000">
            <a:off x="5076784" y="1569992"/>
            <a:ext cx="837072" cy="1004989"/>
          </a:xfrm>
          <a:custGeom>
            <a:avLst/>
            <a:gdLst>
              <a:gd name="T0" fmla="*/ 0 w 3091"/>
              <a:gd name="T1" fmla="*/ 2147483646 h 3092"/>
              <a:gd name="T2" fmla="*/ 2147483646 w 3091"/>
              <a:gd name="T3" fmla="*/ 2147483646 h 3092"/>
              <a:gd name="T4" fmla="*/ 2147483646 w 3091"/>
              <a:gd name="T5" fmla="*/ 2147483646 h 3092"/>
              <a:gd name="T6" fmla="*/ 2147483646 w 3091"/>
              <a:gd name="T7" fmla="*/ 0 h 3092"/>
              <a:gd name="T8" fmla="*/ 0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0" y="1545"/>
                </a:moveTo>
                <a:cubicBezTo>
                  <a:pt x="0" y="2398"/>
                  <a:pt x="692" y="3091"/>
                  <a:pt x="1545" y="3091"/>
                </a:cubicBezTo>
                <a:cubicBezTo>
                  <a:pt x="2398" y="3091"/>
                  <a:pt x="3090" y="2398"/>
                  <a:pt x="3090" y="1545"/>
                </a:cubicBezTo>
                <a:cubicBezTo>
                  <a:pt x="3090" y="692"/>
                  <a:pt x="2398" y="0"/>
                  <a:pt x="1545" y="0"/>
                </a:cubicBezTo>
                <a:cubicBezTo>
                  <a:pt x="692" y="0"/>
                  <a:pt x="0" y="692"/>
                  <a:pt x="0" y="1545"/>
                </a:cubicBez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p>
        </p:txBody>
      </p:sp>
      <p:sp>
        <p:nvSpPr>
          <p:cNvPr id="16" name="Freeform 7">
            <a:extLst>
              <a:ext uri="{FF2B5EF4-FFF2-40B4-BE49-F238E27FC236}">
                <a16:creationId xmlns:a16="http://schemas.microsoft.com/office/drawing/2014/main" id="{18C73F45-10FC-4476-2CCA-09638C83CA10}"/>
              </a:ext>
            </a:extLst>
          </p:cNvPr>
          <p:cNvSpPr>
            <a:spLocks noChangeArrowheads="1"/>
          </p:cNvSpPr>
          <p:nvPr/>
        </p:nvSpPr>
        <p:spPr bwMode="auto">
          <a:xfrm rot="5400000">
            <a:off x="4844822" y="2028996"/>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2" y="305"/>
                </a:moveTo>
                <a:cubicBezTo>
                  <a:pt x="68" y="305"/>
                  <a:pt x="0" y="237"/>
                  <a:pt x="0" y="152"/>
                </a:cubicBezTo>
                <a:cubicBezTo>
                  <a:pt x="0" y="68"/>
                  <a:pt x="68" y="0"/>
                  <a:pt x="152" y="0"/>
                </a:cubicBezTo>
                <a:cubicBezTo>
                  <a:pt x="237" y="0"/>
                  <a:pt x="305" y="68"/>
                  <a:pt x="305" y="152"/>
                </a:cubicBezTo>
                <a:cubicBezTo>
                  <a:pt x="305" y="237"/>
                  <a:pt x="237" y="305"/>
                  <a:pt x="152" y="305"/>
                </a:cubicBezTo>
              </a:path>
            </a:pathLst>
          </a:custGeom>
          <a:solidFill>
            <a:schemeClr val="accent1"/>
          </a:solidFill>
          <a:ln>
            <a:noFill/>
          </a:ln>
          <a:effectLst/>
        </p:spPr>
        <p:txBody>
          <a:bodyPr wrap="none" anchor="ctr"/>
          <a:lstStyle/>
          <a:p>
            <a:endParaRPr lang="en-US" sz="700"/>
          </a:p>
        </p:txBody>
      </p:sp>
      <p:sp>
        <p:nvSpPr>
          <p:cNvPr id="17" name="Freeform 8">
            <a:extLst>
              <a:ext uri="{FF2B5EF4-FFF2-40B4-BE49-F238E27FC236}">
                <a16:creationId xmlns:a16="http://schemas.microsoft.com/office/drawing/2014/main" id="{983593CC-8559-1C83-CA72-2643E62A1D7E}"/>
              </a:ext>
            </a:extLst>
          </p:cNvPr>
          <p:cNvSpPr>
            <a:spLocks noChangeArrowheads="1"/>
          </p:cNvSpPr>
          <p:nvPr/>
        </p:nvSpPr>
        <p:spPr bwMode="auto">
          <a:xfrm rot="5400000">
            <a:off x="2135225" y="2529328"/>
            <a:ext cx="82394"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68" y="305"/>
                  <a:pt x="0" y="237"/>
                  <a:pt x="0" y="152"/>
                </a:cubicBezTo>
                <a:cubicBezTo>
                  <a:pt x="0" y="68"/>
                  <a:pt x="68" y="0"/>
                  <a:pt x="153" y="0"/>
                </a:cubicBezTo>
                <a:cubicBezTo>
                  <a:pt x="237" y="0"/>
                  <a:pt x="305" y="68"/>
                  <a:pt x="305" y="152"/>
                </a:cubicBezTo>
                <a:cubicBezTo>
                  <a:pt x="305" y="237"/>
                  <a:pt x="237" y="305"/>
                  <a:pt x="153" y="305"/>
                </a:cubicBezTo>
              </a:path>
            </a:pathLst>
          </a:custGeom>
          <a:solidFill>
            <a:schemeClr val="accent1"/>
          </a:solidFill>
          <a:ln>
            <a:noFill/>
          </a:ln>
          <a:effectLst/>
        </p:spPr>
        <p:txBody>
          <a:bodyPr wrap="none" anchor="ctr"/>
          <a:lstStyle/>
          <a:p>
            <a:endParaRPr lang="en-US" sz="700"/>
          </a:p>
        </p:txBody>
      </p:sp>
      <p:sp>
        <p:nvSpPr>
          <p:cNvPr id="18" name="Freeform 10">
            <a:extLst>
              <a:ext uri="{FF2B5EF4-FFF2-40B4-BE49-F238E27FC236}">
                <a16:creationId xmlns:a16="http://schemas.microsoft.com/office/drawing/2014/main" id="{55F33185-11B7-0397-99D7-703760C3F76A}"/>
              </a:ext>
            </a:extLst>
          </p:cNvPr>
          <p:cNvSpPr>
            <a:spLocks noChangeArrowheads="1"/>
          </p:cNvSpPr>
          <p:nvPr/>
        </p:nvSpPr>
        <p:spPr bwMode="auto">
          <a:xfrm rot="5400000">
            <a:off x="4046432" y="2338565"/>
            <a:ext cx="691390" cy="831516"/>
          </a:xfrm>
          <a:custGeom>
            <a:avLst/>
            <a:gdLst>
              <a:gd name="T0" fmla="*/ 2147483646 w 2555"/>
              <a:gd name="T1" fmla="*/ 2147483646 h 2556"/>
              <a:gd name="T2" fmla="*/ 2147483646 w 2555"/>
              <a:gd name="T3" fmla="*/ 2147483646 h 2556"/>
              <a:gd name="T4" fmla="*/ 0 w 2555"/>
              <a:gd name="T5" fmla="*/ 2147483646 h 2556"/>
              <a:gd name="T6" fmla="*/ 2147483646 w 2555"/>
              <a:gd name="T7" fmla="*/ 0 h 2556"/>
              <a:gd name="T8" fmla="*/ 2147483646 w 2555"/>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5" h="2556">
                <a:moveTo>
                  <a:pt x="2554" y="1278"/>
                </a:moveTo>
                <a:cubicBezTo>
                  <a:pt x="2554" y="1983"/>
                  <a:pt x="1982" y="2555"/>
                  <a:pt x="1277" y="2555"/>
                </a:cubicBezTo>
                <a:cubicBezTo>
                  <a:pt x="571" y="2555"/>
                  <a:pt x="0" y="1983"/>
                  <a:pt x="0" y="1278"/>
                </a:cubicBezTo>
                <a:cubicBezTo>
                  <a:pt x="0" y="572"/>
                  <a:pt x="571" y="0"/>
                  <a:pt x="1277" y="0"/>
                </a:cubicBezTo>
                <a:cubicBezTo>
                  <a:pt x="1982" y="0"/>
                  <a:pt x="2554" y="572"/>
                  <a:pt x="2554" y="1278"/>
                </a:cubicBezTo>
              </a:path>
            </a:pathLst>
          </a:custGeom>
          <a:solidFill>
            <a:schemeClr val="accent2"/>
          </a:solidFill>
          <a:ln>
            <a:noFill/>
          </a:ln>
          <a:effectLst/>
        </p:spPr>
        <p:txBody>
          <a:bodyPr wrap="none" anchor="ctr"/>
          <a:lstStyle/>
          <a:p>
            <a:endParaRPr lang="en-US" sz="700"/>
          </a:p>
        </p:txBody>
      </p:sp>
      <p:sp>
        <p:nvSpPr>
          <p:cNvPr id="19" name="Freeform 11">
            <a:extLst>
              <a:ext uri="{FF2B5EF4-FFF2-40B4-BE49-F238E27FC236}">
                <a16:creationId xmlns:a16="http://schemas.microsoft.com/office/drawing/2014/main" id="{71BAA463-EC71-ED59-384D-B23C524AD20E}"/>
              </a:ext>
            </a:extLst>
          </p:cNvPr>
          <p:cNvSpPr>
            <a:spLocks noChangeArrowheads="1"/>
          </p:cNvSpPr>
          <p:nvPr/>
        </p:nvSpPr>
        <p:spPr bwMode="auto">
          <a:xfrm rot="5400000">
            <a:off x="3318496" y="2546633"/>
            <a:ext cx="208969" cy="613602"/>
          </a:xfrm>
          <a:custGeom>
            <a:avLst/>
            <a:gdLst>
              <a:gd name="T0" fmla="*/ 2147483646 w 772"/>
              <a:gd name="T1" fmla="*/ 2147483646 h 1888"/>
              <a:gd name="T2" fmla="*/ 0 w 772"/>
              <a:gd name="T3" fmla="*/ 2147483646 h 1888"/>
              <a:gd name="T4" fmla="*/ 0 w 772"/>
              <a:gd name="T5" fmla="*/ 0 h 1888"/>
              <a:gd name="T6" fmla="*/ 0 60000 65536"/>
              <a:gd name="T7" fmla="*/ 0 60000 65536"/>
              <a:gd name="T8" fmla="*/ 0 60000 65536"/>
            </a:gdLst>
            <a:ahLst/>
            <a:cxnLst>
              <a:cxn ang="T6">
                <a:pos x="T0" y="T1"/>
              </a:cxn>
              <a:cxn ang="T7">
                <a:pos x="T2" y="T3"/>
              </a:cxn>
              <a:cxn ang="T8">
                <a:pos x="T4" y="T5"/>
              </a:cxn>
            </a:cxnLst>
            <a:rect l="0" t="0" r="r" b="b"/>
            <a:pathLst>
              <a:path w="772" h="1888">
                <a:moveTo>
                  <a:pt x="771" y="1887"/>
                </a:moveTo>
                <a:lnTo>
                  <a:pt x="0" y="1887"/>
                </a:lnTo>
                <a:lnTo>
                  <a:pt x="0" y="0"/>
                </a:lnTo>
              </a:path>
            </a:pathLst>
          </a:custGeom>
          <a:noFill/>
          <a:ln w="381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p>
        </p:txBody>
      </p:sp>
      <p:sp>
        <p:nvSpPr>
          <p:cNvPr id="20" name="Freeform 12">
            <a:extLst>
              <a:ext uri="{FF2B5EF4-FFF2-40B4-BE49-F238E27FC236}">
                <a16:creationId xmlns:a16="http://schemas.microsoft.com/office/drawing/2014/main" id="{932F1A0D-6277-03ED-5696-303F2FD61D30}"/>
              </a:ext>
            </a:extLst>
          </p:cNvPr>
          <p:cNvSpPr>
            <a:spLocks noChangeArrowheads="1"/>
          </p:cNvSpPr>
          <p:nvPr/>
        </p:nvSpPr>
        <p:spPr bwMode="auto">
          <a:xfrm rot="5400000">
            <a:off x="3712240" y="2700086"/>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2" y="305"/>
                </a:moveTo>
                <a:cubicBezTo>
                  <a:pt x="68" y="305"/>
                  <a:pt x="0" y="237"/>
                  <a:pt x="0" y="153"/>
                </a:cubicBezTo>
                <a:cubicBezTo>
                  <a:pt x="0" y="69"/>
                  <a:pt x="68" y="0"/>
                  <a:pt x="152" y="0"/>
                </a:cubicBezTo>
                <a:cubicBezTo>
                  <a:pt x="236" y="0"/>
                  <a:pt x="305" y="69"/>
                  <a:pt x="305" y="153"/>
                </a:cubicBezTo>
                <a:cubicBezTo>
                  <a:pt x="305" y="237"/>
                  <a:pt x="236" y="305"/>
                  <a:pt x="152" y="305"/>
                </a:cubicBezTo>
              </a:path>
            </a:pathLst>
          </a:custGeom>
          <a:solidFill>
            <a:schemeClr val="accent2"/>
          </a:solidFill>
          <a:ln>
            <a:noFill/>
          </a:ln>
          <a:effectLst/>
        </p:spPr>
        <p:txBody>
          <a:bodyPr wrap="none" anchor="ctr"/>
          <a:lstStyle/>
          <a:p>
            <a:endParaRPr lang="en-US" sz="700"/>
          </a:p>
        </p:txBody>
      </p:sp>
      <p:sp>
        <p:nvSpPr>
          <p:cNvPr id="21" name="Freeform 13">
            <a:extLst>
              <a:ext uri="{FF2B5EF4-FFF2-40B4-BE49-F238E27FC236}">
                <a16:creationId xmlns:a16="http://schemas.microsoft.com/office/drawing/2014/main" id="{9A68E1A4-4489-CCCA-8389-DDA636040678}"/>
              </a:ext>
            </a:extLst>
          </p:cNvPr>
          <p:cNvSpPr>
            <a:spLocks noChangeArrowheads="1"/>
          </p:cNvSpPr>
          <p:nvPr/>
        </p:nvSpPr>
        <p:spPr bwMode="auto">
          <a:xfrm rot="5400000">
            <a:off x="3075699" y="2910250"/>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68" y="305"/>
                  <a:pt x="0" y="237"/>
                  <a:pt x="0" y="153"/>
                </a:cubicBezTo>
                <a:cubicBezTo>
                  <a:pt x="0" y="68"/>
                  <a:pt x="68" y="0"/>
                  <a:pt x="153" y="0"/>
                </a:cubicBezTo>
                <a:cubicBezTo>
                  <a:pt x="237" y="0"/>
                  <a:pt x="305" y="68"/>
                  <a:pt x="305" y="153"/>
                </a:cubicBezTo>
                <a:cubicBezTo>
                  <a:pt x="305" y="237"/>
                  <a:pt x="237" y="305"/>
                  <a:pt x="153" y="305"/>
                </a:cubicBezTo>
              </a:path>
            </a:pathLst>
          </a:custGeom>
          <a:solidFill>
            <a:schemeClr val="accent2"/>
          </a:solidFill>
          <a:ln>
            <a:noFill/>
          </a:ln>
          <a:effectLst/>
        </p:spPr>
        <p:txBody>
          <a:bodyPr wrap="none" anchor="ctr"/>
          <a:lstStyle/>
          <a:p>
            <a:endParaRPr lang="en-US" sz="700"/>
          </a:p>
        </p:txBody>
      </p:sp>
      <p:sp>
        <p:nvSpPr>
          <p:cNvPr id="22" name="Freeform 14">
            <a:extLst>
              <a:ext uri="{FF2B5EF4-FFF2-40B4-BE49-F238E27FC236}">
                <a16:creationId xmlns:a16="http://schemas.microsoft.com/office/drawing/2014/main" id="{4A0D98DA-2116-4527-8879-DF9091F3A47D}"/>
              </a:ext>
            </a:extLst>
          </p:cNvPr>
          <p:cNvSpPr>
            <a:spLocks noChangeArrowheads="1"/>
          </p:cNvSpPr>
          <p:nvPr/>
        </p:nvSpPr>
        <p:spPr bwMode="auto">
          <a:xfrm rot="5400000">
            <a:off x="3972874" y="2251829"/>
            <a:ext cx="837071" cy="1004989"/>
          </a:xfrm>
          <a:custGeom>
            <a:avLst/>
            <a:gdLst>
              <a:gd name="T0" fmla="*/ 0 w 3091"/>
              <a:gd name="T1" fmla="*/ 2147483646 h 3091"/>
              <a:gd name="T2" fmla="*/ 2147483646 w 3091"/>
              <a:gd name="T3" fmla="*/ 2147483646 h 3091"/>
              <a:gd name="T4" fmla="*/ 2147483646 w 3091"/>
              <a:gd name="T5" fmla="*/ 2147483646 h 3091"/>
              <a:gd name="T6" fmla="*/ 2147483646 w 3091"/>
              <a:gd name="T7" fmla="*/ 0 h 3091"/>
              <a:gd name="T8" fmla="*/ 0 w 3091"/>
              <a:gd name="T9" fmla="*/ 2147483646 h 30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1">
                <a:moveTo>
                  <a:pt x="0" y="1545"/>
                </a:moveTo>
                <a:cubicBezTo>
                  <a:pt x="0" y="2398"/>
                  <a:pt x="692" y="3090"/>
                  <a:pt x="1546" y="3090"/>
                </a:cubicBezTo>
                <a:cubicBezTo>
                  <a:pt x="2399" y="3090"/>
                  <a:pt x="3090" y="2398"/>
                  <a:pt x="3090" y="1545"/>
                </a:cubicBezTo>
                <a:cubicBezTo>
                  <a:pt x="3090" y="691"/>
                  <a:pt x="2399" y="0"/>
                  <a:pt x="1546" y="0"/>
                </a:cubicBezTo>
                <a:cubicBezTo>
                  <a:pt x="692" y="0"/>
                  <a:pt x="0" y="691"/>
                  <a:pt x="0" y="1545"/>
                </a:cubicBezTo>
              </a:path>
            </a:pathLst>
          </a:custGeom>
          <a:noFill/>
          <a:ln w="381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p>
        </p:txBody>
      </p:sp>
      <p:sp>
        <p:nvSpPr>
          <p:cNvPr id="27" name="Freeform 24">
            <a:extLst>
              <a:ext uri="{FF2B5EF4-FFF2-40B4-BE49-F238E27FC236}">
                <a16:creationId xmlns:a16="http://schemas.microsoft.com/office/drawing/2014/main" id="{DA782ED6-64BB-7FE9-CC9E-07ED8B6BB584}"/>
              </a:ext>
            </a:extLst>
          </p:cNvPr>
          <p:cNvSpPr>
            <a:spLocks noChangeArrowheads="1"/>
          </p:cNvSpPr>
          <p:nvPr/>
        </p:nvSpPr>
        <p:spPr bwMode="auto">
          <a:xfrm rot="5400000">
            <a:off x="4021463" y="4914858"/>
            <a:ext cx="692584" cy="831516"/>
          </a:xfrm>
          <a:custGeom>
            <a:avLst/>
            <a:gdLst>
              <a:gd name="T0" fmla="*/ 2147483646 w 2556"/>
              <a:gd name="T1" fmla="*/ 2147483646 h 2556"/>
              <a:gd name="T2" fmla="*/ 2147483646 w 2556"/>
              <a:gd name="T3" fmla="*/ 2147483646 h 2556"/>
              <a:gd name="T4" fmla="*/ 0 w 2556"/>
              <a:gd name="T5" fmla="*/ 2147483646 h 2556"/>
              <a:gd name="T6" fmla="*/ 2147483646 w 2556"/>
              <a:gd name="T7" fmla="*/ 0 h 2556"/>
              <a:gd name="T8" fmla="*/ 2147483646 w 2556"/>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6" h="2556">
                <a:moveTo>
                  <a:pt x="2555" y="1277"/>
                </a:moveTo>
                <a:cubicBezTo>
                  <a:pt x="2555" y="1983"/>
                  <a:pt x="1982" y="2555"/>
                  <a:pt x="1277" y="2555"/>
                </a:cubicBezTo>
                <a:cubicBezTo>
                  <a:pt x="572" y="2555"/>
                  <a:pt x="0" y="1983"/>
                  <a:pt x="0" y="1277"/>
                </a:cubicBezTo>
                <a:cubicBezTo>
                  <a:pt x="0" y="572"/>
                  <a:pt x="572" y="0"/>
                  <a:pt x="1277" y="0"/>
                </a:cubicBezTo>
                <a:cubicBezTo>
                  <a:pt x="1982" y="0"/>
                  <a:pt x="2555" y="572"/>
                  <a:pt x="2555" y="1277"/>
                </a:cubicBezTo>
              </a:path>
            </a:pathLst>
          </a:custGeom>
          <a:solidFill>
            <a:schemeClr val="accent4"/>
          </a:solidFill>
          <a:ln>
            <a:noFill/>
          </a:ln>
          <a:effectLst/>
        </p:spPr>
        <p:txBody>
          <a:bodyPr wrap="none" anchor="ctr"/>
          <a:lstStyle/>
          <a:p>
            <a:endParaRPr lang="en-US" sz="700"/>
          </a:p>
        </p:txBody>
      </p:sp>
      <p:sp>
        <p:nvSpPr>
          <p:cNvPr id="28" name="Freeform 25">
            <a:extLst>
              <a:ext uri="{FF2B5EF4-FFF2-40B4-BE49-F238E27FC236}">
                <a16:creationId xmlns:a16="http://schemas.microsoft.com/office/drawing/2014/main" id="{050B0E17-D700-6BC7-9FB7-303C63950D42}"/>
              </a:ext>
            </a:extLst>
          </p:cNvPr>
          <p:cNvSpPr>
            <a:spLocks noChangeArrowheads="1"/>
          </p:cNvSpPr>
          <p:nvPr/>
        </p:nvSpPr>
        <p:spPr bwMode="auto">
          <a:xfrm rot="5400000">
            <a:off x="3318496" y="4924107"/>
            <a:ext cx="208970" cy="613602"/>
          </a:xfrm>
          <a:custGeom>
            <a:avLst/>
            <a:gdLst>
              <a:gd name="T0" fmla="*/ 0 w 772"/>
              <a:gd name="T1" fmla="*/ 2147483646 h 1888"/>
              <a:gd name="T2" fmla="*/ 2147483646 w 772"/>
              <a:gd name="T3" fmla="*/ 2147483646 h 1888"/>
              <a:gd name="T4" fmla="*/ 2147483646 w 772"/>
              <a:gd name="T5" fmla="*/ 0 h 1888"/>
              <a:gd name="T6" fmla="*/ 0 60000 65536"/>
              <a:gd name="T7" fmla="*/ 0 60000 65536"/>
              <a:gd name="T8" fmla="*/ 0 60000 65536"/>
            </a:gdLst>
            <a:ahLst/>
            <a:cxnLst>
              <a:cxn ang="T6">
                <a:pos x="T0" y="T1"/>
              </a:cxn>
              <a:cxn ang="T7">
                <a:pos x="T2" y="T3"/>
              </a:cxn>
              <a:cxn ang="T8">
                <a:pos x="T4" y="T5"/>
              </a:cxn>
            </a:cxnLst>
            <a:rect l="0" t="0" r="r" b="b"/>
            <a:pathLst>
              <a:path w="772" h="1888">
                <a:moveTo>
                  <a:pt x="0" y="1887"/>
                </a:moveTo>
                <a:lnTo>
                  <a:pt x="771" y="1887"/>
                </a:lnTo>
                <a:lnTo>
                  <a:pt x="771" y="0"/>
                </a:lnTo>
              </a:path>
            </a:pathLst>
          </a:custGeom>
          <a:noFill/>
          <a:ln w="381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p>
        </p:txBody>
      </p:sp>
      <p:sp>
        <p:nvSpPr>
          <p:cNvPr id="29" name="Freeform 26">
            <a:extLst>
              <a:ext uri="{FF2B5EF4-FFF2-40B4-BE49-F238E27FC236}">
                <a16:creationId xmlns:a16="http://schemas.microsoft.com/office/drawing/2014/main" id="{754551B6-189E-6E28-C6EE-D517E19ADA14}"/>
              </a:ext>
            </a:extLst>
          </p:cNvPr>
          <p:cNvSpPr>
            <a:spLocks noChangeArrowheads="1"/>
          </p:cNvSpPr>
          <p:nvPr/>
        </p:nvSpPr>
        <p:spPr bwMode="auto">
          <a:xfrm rot="5400000">
            <a:off x="3710806" y="5285334"/>
            <a:ext cx="82394" cy="98923"/>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3"/>
                </a:cubicBezTo>
                <a:cubicBezTo>
                  <a:pt x="305" y="68"/>
                  <a:pt x="237" y="0"/>
                  <a:pt x="153" y="0"/>
                </a:cubicBezTo>
                <a:cubicBezTo>
                  <a:pt x="69" y="0"/>
                  <a:pt x="0" y="68"/>
                  <a:pt x="0" y="153"/>
                </a:cubicBezTo>
                <a:cubicBezTo>
                  <a:pt x="0" y="237"/>
                  <a:pt x="69" y="305"/>
                  <a:pt x="153" y="305"/>
                </a:cubicBezTo>
              </a:path>
            </a:pathLst>
          </a:custGeom>
          <a:solidFill>
            <a:schemeClr val="accent4"/>
          </a:solidFill>
          <a:ln>
            <a:noFill/>
          </a:ln>
          <a:effectLst/>
        </p:spPr>
        <p:txBody>
          <a:bodyPr wrap="none" anchor="ctr"/>
          <a:lstStyle/>
          <a:p>
            <a:endParaRPr lang="en-US" sz="700"/>
          </a:p>
        </p:txBody>
      </p:sp>
      <p:sp>
        <p:nvSpPr>
          <p:cNvPr id="30" name="Freeform 27">
            <a:extLst>
              <a:ext uri="{FF2B5EF4-FFF2-40B4-BE49-F238E27FC236}">
                <a16:creationId xmlns:a16="http://schemas.microsoft.com/office/drawing/2014/main" id="{E89DF0F8-B5DD-129D-D10B-1C7A07951C28}"/>
              </a:ext>
            </a:extLst>
          </p:cNvPr>
          <p:cNvSpPr>
            <a:spLocks noChangeArrowheads="1"/>
          </p:cNvSpPr>
          <p:nvPr/>
        </p:nvSpPr>
        <p:spPr bwMode="auto">
          <a:xfrm rot="5400000">
            <a:off x="3075699" y="5085918"/>
            <a:ext cx="82393" cy="98922"/>
          </a:xfrm>
          <a:custGeom>
            <a:avLst/>
            <a:gdLst>
              <a:gd name="T0" fmla="*/ 2147483646 w 305"/>
              <a:gd name="T1" fmla="*/ 2147483646 h 306"/>
              <a:gd name="T2" fmla="*/ 2147483646 w 305"/>
              <a:gd name="T3" fmla="*/ 2147483646 h 306"/>
              <a:gd name="T4" fmla="*/ 2147483646 w 305"/>
              <a:gd name="T5" fmla="*/ 0 h 306"/>
              <a:gd name="T6" fmla="*/ 0 w 305"/>
              <a:gd name="T7" fmla="*/ 2147483646 h 306"/>
              <a:gd name="T8" fmla="*/ 2147483646 w 305"/>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5" h="306">
                <a:moveTo>
                  <a:pt x="152" y="305"/>
                </a:moveTo>
                <a:cubicBezTo>
                  <a:pt x="236" y="305"/>
                  <a:pt x="304" y="237"/>
                  <a:pt x="304" y="153"/>
                </a:cubicBezTo>
                <a:cubicBezTo>
                  <a:pt x="304" y="68"/>
                  <a:pt x="236" y="0"/>
                  <a:pt x="152" y="0"/>
                </a:cubicBezTo>
                <a:cubicBezTo>
                  <a:pt x="68" y="0"/>
                  <a:pt x="0" y="68"/>
                  <a:pt x="0" y="153"/>
                </a:cubicBezTo>
                <a:cubicBezTo>
                  <a:pt x="0" y="237"/>
                  <a:pt x="68" y="305"/>
                  <a:pt x="152" y="305"/>
                </a:cubicBezTo>
              </a:path>
            </a:pathLst>
          </a:custGeom>
          <a:solidFill>
            <a:schemeClr val="accent4"/>
          </a:solidFill>
          <a:ln>
            <a:noFill/>
          </a:ln>
          <a:effectLst/>
        </p:spPr>
        <p:txBody>
          <a:bodyPr wrap="none" anchor="ctr"/>
          <a:lstStyle/>
          <a:p>
            <a:endParaRPr lang="en-US" sz="700"/>
          </a:p>
        </p:txBody>
      </p:sp>
      <p:sp>
        <p:nvSpPr>
          <p:cNvPr id="31" name="Freeform 28">
            <a:extLst>
              <a:ext uri="{FF2B5EF4-FFF2-40B4-BE49-F238E27FC236}">
                <a16:creationId xmlns:a16="http://schemas.microsoft.com/office/drawing/2014/main" id="{30851076-F204-6590-9AEB-19120E139B49}"/>
              </a:ext>
            </a:extLst>
          </p:cNvPr>
          <p:cNvSpPr>
            <a:spLocks noChangeArrowheads="1"/>
          </p:cNvSpPr>
          <p:nvPr/>
        </p:nvSpPr>
        <p:spPr bwMode="auto">
          <a:xfrm rot="5400000">
            <a:off x="3948502" y="4827525"/>
            <a:ext cx="837072" cy="1004988"/>
          </a:xfrm>
          <a:custGeom>
            <a:avLst/>
            <a:gdLst>
              <a:gd name="T0" fmla="*/ 2147483646 w 3091"/>
              <a:gd name="T1" fmla="*/ 2147483646 h 3092"/>
              <a:gd name="T2" fmla="*/ 2147483646 w 3091"/>
              <a:gd name="T3" fmla="*/ 2147483646 h 3092"/>
              <a:gd name="T4" fmla="*/ 0 w 3091"/>
              <a:gd name="T5" fmla="*/ 2147483646 h 3092"/>
              <a:gd name="T6" fmla="*/ 2147483646 w 3091"/>
              <a:gd name="T7" fmla="*/ 0 h 3092"/>
              <a:gd name="T8" fmla="*/ 2147483646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3090" y="1545"/>
                </a:moveTo>
                <a:cubicBezTo>
                  <a:pt x="3090" y="2399"/>
                  <a:pt x="2399" y="3091"/>
                  <a:pt x="1545" y="3091"/>
                </a:cubicBezTo>
                <a:cubicBezTo>
                  <a:pt x="692" y="3091"/>
                  <a:pt x="0" y="2399"/>
                  <a:pt x="0" y="1545"/>
                </a:cubicBezTo>
                <a:cubicBezTo>
                  <a:pt x="0" y="692"/>
                  <a:pt x="692" y="0"/>
                  <a:pt x="1545" y="0"/>
                </a:cubicBezTo>
                <a:cubicBezTo>
                  <a:pt x="2399" y="0"/>
                  <a:pt x="3090" y="692"/>
                  <a:pt x="3090" y="1545"/>
                </a:cubicBezTo>
              </a:path>
            </a:pathLst>
          </a:custGeom>
          <a:noFill/>
          <a:ln w="381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p>
        </p:txBody>
      </p:sp>
      <p:sp>
        <p:nvSpPr>
          <p:cNvPr id="32" name="Freeform 31">
            <a:extLst>
              <a:ext uri="{FF2B5EF4-FFF2-40B4-BE49-F238E27FC236}">
                <a16:creationId xmlns:a16="http://schemas.microsoft.com/office/drawing/2014/main" id="{151B05ED-1752-80F7-D176-E7A6D7B458CD}"/>
              </a:ext>
            </a:extLst>
          </p:cNvPr>
          <p:cNvSpPr>
            <a:spLocks noChangeArrowheads="1"/>
          </p:cNvSpPr>
          <p:nvPr/>
        </p:nvSpPr>
        <p:spPr bwMode="auto">
          <a:xfrm rot="5400000">
            <a:off x="5145325" y="5609233"/>
            <a:ext cx="691389" cy="831516"/>
          </a:xfrm>
          <a:custGeom>
            <a:avLst/>
            <a:gdLst>
              <a:gd name="T0" fmla="*/ 2147483646 w 2555"/>
              <a:gd name="T1" fmla="*/ 2147483646 h 2556"/>
              <a:gd name="T2" fmla="*/ 2147483646 w 2555"/>
              <a:gd name="T3" fmla="*/ 2147483646 h 2556"/>
              <a:gd name="T4" fmla="*/ 0 w 2555"/>
              <a:gd name="T5" fmla="*/ 2147483646 h 2556"/>
              <a:gd name="T6" fmla="*/ 2147483646 w 2555"/>
              <a:gd name="T7" fmla="*/ 0 h 2556"/>
              <a:gd name="T8" fmla="*/ 2147483646 w 2555"/>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5" h="2556">
                <a:moveTo>
                  <a:pt x="2554" y="1277"/>
                </a:moveTo>
                <a:cubicBezTo>
                  <a:pt x="2554" y="1983"/>
                  <a:pt x="1982" y="2555"/>
                  <a:pt x="1277" y="2555"/>
                </a:cubicBezTo>
                <a:cubicBezTo>
                  <a:pt x="572" y="2555"/>
                  <a:pt x="0" y="1983"/>
                  <a:pt x="0" y="1277"/>
                </a:cubicBezTo>
                <a:cubicBezTo>
                  <a:pt x="0" y="572"/>
                  <a:pt x="572" y="0"/>
                  <a:pt x="1277" y="0"/>
                </a:cubicBezTo>
                <a:cubicBezTo>
                  <a:pt x="1982" y="0"/>
                  <a:pt x="2554" y="572"/>
                  <a:pt x="2554" y="1277"/>
                </a:cubicBezTo>
              </a:path>
            </a:pathLst>
          </a:custGeom>
          <a:solidFill>
            <a:schemeClr val="accent5"/>
          </a:solidFill>
          <a:ln>
            <a:noFill/>
          </a:ln>
          <a:effectLst/>
        </p:spPr>
        <p:txBody>
          <a:bodyPr wrap="none" anchor="ctr"/>
          <a:lstStyle/>
          <a:p>
            <a:endParaRPr lang="en-US" sz="700"/>
          </a:p>
        </p:txBody>
      </p:sp>
      <p:sp>
        <p:nvSpPr>
          <p:cNvPr id="33" name="Freeform 32">
            <a:extLst>
              <a:ext uri="{FF2B5EF4-FFF2-40B4-BE49-F238E27FC236}">
                <a16:creationId xmlns:a16="http://schemas.microsoft.com/office/drawing/2014/main" id="{188D7C65-671F-1B70-6AD2-B09BFA6605EE}"/>
              </a:ext>
            </a:extLst>
          </p:cNvPr>
          <p:cNvSpPr>
            <a:spLocks noChangeArrowheads="1"/>
          </p:cNvSpPr>
          <p:nvPr/>
        </p:nvSpPr>
        <p:spPr bwMode="auto">
          <a:xfrm rot="5400000">
            <a:off x="3291544" y="4500885"/>
            <a:ext cx="404803" cy="2642215"/>
          </a:xfrm>
          <a:custGeom>
            <a:avLst/>
            <a:gdLst>
              <a:gd name="T0" fmla="*/ 0 w 1497"/>
              <a:gd name="T1" fmla="*/ 2147483646 h 8129"/>
              <a:gd name="T2" fmla="*/ 2147483646 w 1497"/>
              <a:gd name="T3" fmla="*/ 2147483646 h 8129"/>
              <a:gd name="T4" fmla="*/ 2147483646 w 1497"/>
              <a:gd name="T5" fmla="*/ 0 h 8129"/>
              <a:gd name="T6" fmla="*/ 0 60000 65536"/>
              <a:gd name="T7" fmla="*/ 0 60000 65536"/>
              <a:gd name="T8" fmla="*/ 0 60000 65536"/>
            </a:gdLst>
            <a:ahLst/>
            <a:cxnLst>
              <a:cxn ang="T6">
                <a:pos x="T0" y="T1"/>
              </a:cxn>
              <a:cxn ang="T7">
                <a:pos x="T2" y="T3"/>
              </a:cxn>
              <a:cxn ang="T8">
                <a:pos x="T4" y="T5"/>
              </a:cxn>
            </a:cxnLst>
            <a:rect l="0" t="0" r="r" b="b"/>
            <a:pathLst>
              <a:path w="1497" h="8129">
                <a:moveTo>
                  <a:pt x="0" y="8128"/>
                </a:moveTo>
                <a:lnTo>
                  <a:pt x="1496" y="8128"/>
                </a:lnTo>
                <a:lnTo>
                  <a:pt x="1496" y="0"/>
                </a:ln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p>
        </p:txBody>
      </p:sp>
      <p:sp>
        <p:nvSpPr>
          <p:cNvPr id="34" name="Freeform 33">
            <a:extLst>
              <a:ext uri="{FF2B5EF4-FFF2-40B4-BE49-F238E27FC236}">
                <a16:creationId xmlns:a16="http://schemas.microsoft.com/office/drawing/2014/main" id="{439ADF8D-B5A0-1340-2590-F1E236EA588E}"/>
              </a:ext>
            </a:extLst>
          </p:cNvPr>
          <p:cNvSpPr>
            <a:spLocks noChangeArrowheads="1"/>
          </p:cNvSpPr>
          <p:nvPr/>
        </p:nvSpPr>
        <p:spPr bwMode="auto">
          <a:xfrm rot="5400000">
            <a:off x="5072483" y="5522497"/>
            <a:ext cx="837072" cy="1004988"/>
          </a:xfrm>
          <a:custGeom>
            <a:avLst/>
            <a:gdLst>
              <a:gd name="T0" fmla="*/ 2147483646 w 3091"/>
              <a:gd name="T1" fmla="*/ 2147483646 h 3092"/>
              <a:gd name="T2" fmla="*/ 2147483646 w 3091"/>
              <a:gd name="T3" fmla="*/ 2147483646 h 3092"/>
              <a:gd name="T4" fmla="*/ 0 w 3091"/>
              <a:gd name="T5" fmla="*/ 2147483646 h 3092"/>
              <a:gd name="T6" fmla="*/ 2147483646 w 3091"/>
              <a:gd name="T7" fmla="*/ 0 h 3092"/>
              <a:gd name="T8" fmla="*/ 2147483646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3090" y="1545"/>
                </a:moveTo>
                <a:cubicBezTo>
                  <a:pt x="3090" y="2399"/>
                  <a:pt x="2398" y="3091"/>
                  <a:pt x="1545" y="3091"/>
                </a:cubicBezTo>
                <a:cubicBezTo>
                  <a:pt x="692" y="3091"/>
                  <a:pt x="0" y="2399"/>
                  <a:pt x="0" y="1545"/>
                </a:cubicBezTo>
                <a:cubicBezTo>
                  <a:pt x="0" y="692"/>
                  <a:pt x="692" y="0"/>
                  <a:pt x="1545" y="0"/>
                </a:cubicBezTo>
                <a:cubicBezTo>
                  <a:pt x="2398" y="0"/>
                  <a:pt x="3090" y="692"/>
                  <a:pt x="3090" y="1545"/>
                </a:cubicBez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p>
        </p:txBody>
      </p:sp>
      <p:sp>
        <p:nvSpPr>
          <p:cNvPr id="35" name="Freeform 35">
            <a:extLst>
              <a:ext uri="{FF2B5EF4-FFF2-40B4-BE49-F238E27FC236}">
                <a16:creationId xmlns:a16="http://schemas.microsoft.com/office/drawing/2014/main" id="{83BEDE65-DC2C-136C-CFB4-A7150140BD21}"/>
              </a:ext>
            </a:extLst>
          </p:cNvPr>
          <p:cNvSpPr>
            <a:spLocks noChangeArrowheads="1"/>
          </p:cNvSpPr>
          <p:nvPr/>
        </p:nvSpPr>
        <p:spPr bwMode="auto">
          <a:xfrm rot="5400000">
            <a:off x="4853424" y="5974336"/>
            <a:ext cx="82393" cy="98922"/>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3"/>
                </a:cubicBezTo>
                <a:cubicBezTo>
                  <a:pt x="305" y="68"/>
                  <a:pt x="237" y="0"/>
                  <a:pt x="153" y="0"/>
                </a:cubicBezTo>
                <a:cubicBezTo>
                  <a:pt x="68" y="0"/>
                  <a:pt x="0" y="68"/>
                  <a:pt x="0" y="153"/>
                </a:cubicBezTo>
                <a:cubicBezTo>
                  <a:pt x="0" y="237"/>
                  <a:pt x="68" y="305"/>
                  <a:pt x="153" y="305"/>
                </a:cubicBezTo>
              </a:path>
            </a:pathLst>
          </a:custGeom>
          <a:solidFill>
            <a:schemeClr val="accent5"/>
          </a:solidFill>
          <a:ln>
            <a:noFill/>
          </a:ln>
          <a:effectLst/>
        </p:spPr>
        <p:txBody>
          <a:bodyPr wrap="none" anchor="ctr"/>
          <a:lstStyle/>
          <a:p>
            <a:endParaRPr lang="en-US" sz="700"/>
          </a:p>
        </p:txBody>
      </p:sp>
      <p:sp>
        <p:nvSpPr>
          <p:cNvPr id="36" name="Freeform 36">
            <a:extLst>
              <a:ext uri="{FF2B5EF4-FFF2-40B4-BE49-F238E27FC236}">
                <a16:creationId xmlns:a16="http://schemas.microsoft.com/office/drawing/2014/main" id="{1CF9251C-4AD7-08E9-7E33-997EFDAAE323}"/>
              </a:ext>
            </a:extLst>
          </p:cNvPr>
          <p:cNvSpPr>
            <a:spLocks noChangeArrowheads="1"/>
          </p:cNvSpPr>
          <p:nvPr/>
        </p:nvSpPr>
        <p:spPr bwMode="auto">
          <a:xfrm rot="5400000">
            <a:off x="2130925" y="5484751"/>
            <a:ext cx="82393" cy="98923"/>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2"/>
                </a:cubicBezTo>
                <a:cubicBezTo>
                  <a:pt x="305" y="69"/>
                  <a:pt x="237" y="0"/>
                  <a:pt x="153" y="0"/>
                </a:cubicBezTo>
                <a:cubicBezTo>
                  <a:pt x="69" y="0"/>
                  <a:pt x="0" y="69"/>
                  <a:pt x="0" y="152"/>
                </a:cubicBezTo>
                <a:cubicBezTo>
                  <a:pt x="0" y="237"/>
                  <a:pt x="69" y="305"/>
                  <a:pt x="153" y="305"/>
                </a:cubicBezTo>
              </a:path>
            </a:pathLst>
          </a:custGeom>
          <a:solidFill>
            <a:schemeClr val="accent5"/>
          </a:solidFill>
          <a:ln>
            <a:noFill/>
          </a:ln>
          <a:effectLst/>
        </p:spPr>
        <p:txBody>
          <a:bodyPr wrap="none" anchor="ctr"/>
          <a:lstStyle/>
          <a:p>
            <a:endParaRPr lang="en-US" sz="700"/>
          </a:p>
        </p:txBody>
      </p:sp>
      <p:cxnSp>
        <p:nvCxnSpPr>
          <p:cNvPr id="37" name="Conector recto 42">
            <a:extLst>
              <a:ext uri="{FF2B5EF4-FFF2-40B4-BE49-F238E27FC236}">
                <a16:creationId xmlns:a16="http://schemas.microsoft.com/office/drawing/2014/main" id="{5A4F45EB-163E-C628-AB29-B75630EA689F}"/>
              </a:ext>
            </a:extLst>
          </p:cNvPr>
          <p:cNvCxnSpPr/>
          <p:nvPr/>
        </p:nvCxnSpPr>
        <p:spPr>
          <a:xfrm>
            <a:off x="6037955" y="2074277"/>
            <a:ext cx="22651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Conector recto 43">
            <a:extLst>
              <a:ext uri="{FF2B5EF4-FFF2-40B4-BE49-F238E27FC236}">
                <a16:creationId xmlns:a16="http://schemas.microsoft.com/office/drawing/2014/main" id="{5CE6456A-E761-0C0F-F61A-2AA750F50EE4}"/>
              </a:ext>
            </a:extLst>
          </p:cNvPr>
          <p:cNvCxnSpPr/>
          <p:nvPr/>
        </p:nvCxnSpPr>
        <p:spPr>
          <a:xfrm>
            <a:off x="4916841" y="2753726"/>
            <a:ext cx="22651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TextBox 2">
            <a:extLst>
              <a:ext uri="{FF2B5EF4-FFF2-40B4-BE49-F238E27FC236}">
                <a16:creationId xmlns:a16="http://schemas.microsoft.com/office/drawing/2014/main" id="{74CC078B-77EB-C651-2A12-42EFBBD41422}"/>
              </a:ext>
            </a:extLst>
          </p:cNvPr>
          <p:cNvSpPr txBox="1"/>
          <p:nvPr/>
        </p:nvSpPr>
        <p:spPr>
          <a:xfrm>
            <a:off x="1399429" y="3816711"/>
            <a:ext cx="1328486" cy="461665"/>
          </a:xfrm>
          <a:prstGeom prst="rect">
            <a:avLst/>
          </a:prstGeom>
          <a:noFill/>
        </p:spPr>
        <p:txBody>
          <a:bodyPr wrap="square" rtlCol="0" anchor="ctr">
            <a:spAutoFit/>
          </a:bodyPr>
          <a:lstStyle/>
          <a:p>
            <a:pPr algn="ctr"/>
            <a:r>
              <a:rPr lang="en-US" sz="2400" b="1" dirty="0">
                <a:solidFill>
                  <a:schemeClr val="bg1"/>
                </a:solidFill>
                <a:latin typeface="Poppins SemiBold" pitchFamily="2" charset="77"/>
                <a:ea typeface="League Spartan" charset="0"/>
                <a:cs typeface="Poppins SemiBold" pitchFamily="2" charset="77"/>
              </a:rPr>
              <a:t>PETS</a:t>
            </a:r>
          </a:p>
        </p:txBody>
      </p:sp>
      <p:sp>
        <p:nvSpPr>
          <p:cNvPr id="41" name="TextBox 55">
            <a:extLst>
              <a:ext uri="{FF2B5EF4-FFF2-40B4-BE49-F238E27FC236}">
                <a16:creationId xmlns:a16="http://schemas.microsoft.com/office/drawing/2014/main" id="{14B788B7-9971-1F1A-DFDA-FB6FC1349E9E}"/>
              </a:ext>
            </a:extLst>
          </p:cNvPr>
          <p:cNvSpPr txBox="1"/>
          <p:nvPr/>
        </p:nvSpPr>
        <p:spPr>
          <a:xfrm>
            <a:off x="5269337" y="2640882"/>
            <a:ext cx="4057521" cy="253916"/>
          </a:xfrm>
          <a:prstGeom prst="rect">
            <a:avLst/>
          </a:prstGeom>
          <a:noFill/>
        </p:spPr>
        <p:txBody>
          <a:bodyPr wrap="none" rtlCol="0" anchor="b" anchorCtr="0">
            <a:spAutoFit/>
          </a:bodyPr>
          <a:lstStyle/>
          <a:p>
            <a:r>
              <a:rPr lang="en-US" sz="1050" b="1" dirty="0">
                <a:solidFill>
                  <a:schemeClr val="tx2"/>
                </a:solidFill>
                <a:latin typeface="Poppins SemiBold" pitchFamily="2" charset="77"/>
                <a:ea typeface="League Spartan" charset="0"/>
                <a:cs typeface="Poppins SemiBold" pitchFamily="2" charset="77"/>
              </a:rPr>
              <a:t>¿</a:t>
            </a:r>
            <a:r>
              <a:rPr lang="en-US" sz="1050" b="1" dirty="0" err="1">
                <a:solidFill>
                  <a:schemeClr val="tx2"/>
                </a:solidFill>
                <a:latin typeface="Poppins SemiBold" pitchFamily="2" charset="77"/>
                <a:ea typeface="League Spartan" charset="0"/>
                <a:cs typeface="Poppins SemiBold" pitchFamily="2" charset="77"/>
              </a:rPr>
              <a:t>Quién</a:t>
            </a:r>
            <a:r>
              <a:rPr lang="en-US" sz="1050" b="1" dirty="0">
                <a:solidFill>
                  <a:schemeClr val="tx2"/>
                </a:solidFill>
                <a:latin typeface="Poppins SemiBold" pitchFamily="2" charset="77"/>
                <a:ea typeface="League Spartan" charset="0"/>
                <a:cs typeface="Poppins SemiBold" pitchFamily="2" charset="77"/>
              </a:rPr>
              <a:t> es </a:t>
            </a:r>
            <a:r>
              <a:rPr lang="en-US" sz="1050" b="1" dirty="0" err="1">
                <a:solidFill>
                  <a:schemeClr val="tx2"/>
                </a:solidFill>
                <a:latin typeface="Poppins SemiBold" pitchFamily="2" charset="77"/>
                <a:ea typeface="League Spartan" charset="0"/>
                <a:cs typeface="Poppins SemiBold" pitchFamily="2" charset="77"/>
              </a:rPr>
              <a:t>el</a:t>
            </a:r>
            <a:r>
              <a:rPr lang="en-US" sz="1050" b="1" dirty="0">
                <a:solidFill>
                  <a:schemeClr val="tx2"/>
                </a:solidFill>
                <a:latin typeface="Poppins SemiBold" pitchFamily="2" charset="77"/>
                <a:ea typeface="League Spartan" charset="0"/>
                <a:cs typeface="Poppins SemiBold" pitchFamily="2" charset="77"/>
              </a:rPr>
              <a:t> </a:t>
            </a:r>
            <a:r>
              <a:rPr lang="en-US" sz="1050" b="1" dirty="0" err="1">
                <a:solidFill>
                  <a:schemeClr val="tx2"/>
                </a:solidFill>
                <a:latin typeface="Poppins SemiBold" pitchFamily="2" charset="77"/>
                <a:ea typeface="League Spartan" charset="0"/>
                <a:cs typeface="Poppins SemiBold" pitchFamily="2" charset="77"/>
              </a:rPr>
              <a:t>encargado</a:t>
            </a:r>
            <a:r>
              <a:rPr lang="en-US" sz="1050" b="1" dirty="0">
                <a:solidFill>
                  <a:schemeClr val="tx2"/>
                </a:solidFill>
                <a:latin typeface="Poppins SemiBold" pitchFamily="2" charset="77"/>
                <a:ea typeface="League Spartan" charset="0"/>
                <a:cs typeface="Poppins SemiBold" pitchFamily="2" charset="77"/>
              </a:rPr>
              <a:t> de </a:t>
            </a:r>
            <a:r>
              <a:rPr lang="en-US" sz="1050" b="1" dirty="0" err="1">
                <a:solidFill>
                  <a:schemeClr val="tx2"/>
                </a:solidFill>
                <a:latin typeface="Poppins SemiBold" pitchFamily="2" charset="77"/>
                <a:ea typeface="League Spartan" charset="0"/>
                <a:cs typeface="Poppins SemiBold" pitchFamily="2" charset="77"/>
              </a:rPr>
              <a:t>Instruir</a:t>
            </a:r>
            <a:r>
              <a:rPr lang="en-US" sz="1050" b="1" dirty="0">
                <a:solidFill>
                  <a:schemeClr val="tx2"/>
                </a:solidFill>
                <a:latin typeface="Poppins SemiBold" pitchFamily="2" charset="77"/>
                <a:ea typeface="League Spartan" charset="0"/>
                <a:cs typeface="Poppins SemiBold" pitchFamily="2" charset="77"/>
              </a:rPr>
              <a:t> y </a:t>
            </a:r>
            <a:r>
              <a:rPr lang="en-US" sz="1050" b="1" dirty="0" err="1">
                <a:solidFill>
                  <a:schemeClr val="tx2"/>
                </a:solidFill>
                <a:latin typeface="Poppins SemiBold" pitchFamily="2" charset="77"/>
                <a:ea typeface="League Spartan" charset="0"/>
                <a:cs typeface="Poppins SemiBold" pitchFamily="2" charset="77"/>
              </a:rPr>
              <a:t>Verificar</a:t>
            </a:r>
            <a:r>
              <a:rPr lang="en-US" sz="1050" b="1" dirty="0">
                <a:solidFill>
                  <a:schemeClr val="tx2"/>
                </a:solidFill>
                <a:latin typeface="Poppins SemiBold" pitchFamily="2" charset="77"/>
                <a:ea typeface="League Spartan" charset="0"/>
                <a:cs typeface="Poppins SemiBold" pitchFamily="2" charset="77"/>
              </a:rPr>
              <a:t> </a:t>
            </a:r>
            <a:r>
              <a:rPr lang="en-US" sz="1050" b="1" dirty="0" err="1">
                <a:solidFill>
                  <a:schemeClr val="tx2"/>
                </a:solidFill>
                <a:latin typeface="Poppins SemiBold" pitchFamily="2" charset="77"/>
                <a:ea typeface="League Spartan" charset="0"/>
                <a:cs typeface="Poppins SemiBold" pitchFamily="2" charset="77"/>
              </a:rPr>
              <a:t>los</a:t>
            </a:r>
            <a:r>
              <a:rPr lang="en-US" sz="1050" b="1" dirty="0">
                <a:solidFill>
                  <a:schemeClr val="tx2"/>
                </a:solidFill>
                <a:latin typeface="Poppins SemiBold" pitchFamily="2" charset="77"/>
                <a:ea typeface="League Spartan" charset="0"/>
                <a:cs typeface="Poppins SemiBold" pitchFamily="2" charset="77"/>
              </a:rPr>
              <a:t> PETS??</a:t>
            </a:r>
          </a:p>
        </p:txBody>
      </p:sp>
      <p:sp>
        <p:nvSpPr>
          <p:cNvPr id="42" name="Subtitle 2">
            <a:extLst>
              <a:ext uri="{FF2B5EF4-FFF2-40B4-BE49-F238E27FC236}">
                <a16:creationId xmlns:a16="http://schemas.microsoft.com/office/drawing/2014/main" id="{6BBF1E4A-AE24-461E-32FC-6514E018C0EB}"/>
              </a:ext>
            </a:extLst>
          </p:cNvPr>
          <p:cNvSpPr txBox="1">
            <a:spLocks/>
          </p:cNvSpPr>
          <p:nvPr/>
        </p:nvSpPr>
        <p:spPr>
          <a:xfrm>
            <a:off x="5269337" y="2928094"/>
            <a:ext cx="4098674" cy="446276"/>
          </a:xfrm>
          <a:prstGeom prst="rect">
            <a:avLst/>
          </a:prstGeom>
        </p:spPr>
        <p:txBody>
          <a:bodyPr vert="horz" wrap="square" lIns="91440" tIns="45720" rIns="91440" bIns="91440" rtlCol="0" anchor="t">
            <a:spAutoFit/>
          </a:bodyPr>
          <a:lstStyle>
            <a:defPPr>
              <a:defRPr lang="en-US"/>
            </a:defPPr>
            <a:lvl1pPr indent="0" defTabSz="1087636">
              <a:lnSpc>
                <a:spcPct val="100000"/>
              </a:lnSpc>
              <a:spcBef>
                <a:spcPct val="20000"/>
              </a:spcBef>
              <a:buFont typeface="Arial"/>
              <a:buNone/>
              <a:defRPr sz="10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dirty="0"/>
              <a:t>El supervisor es </a:t>
            </a:r>
            <a:r>
              <a:rPr lang="en-US" dirty="0" err="1"/>
              <a:t>el</a:t>
            </a:r>
            <a:r>
              <a:rPr lang="en-US" dirty="0"/>
              <a:t> </a:t>
            </a:r>
            <a:r>
              <a:rPr lang="en-US" dirty="0" err="1"/>
              <a:t>encargado</a:t>
            </a:r>
            <a:r>
              <a:rPr lang="en-US" dirty="0"/>
              <a:t> de </a:t>
            </a:r>
            <a:r>
              <a:rPr lang="en-US" dirty="0" err="1"/>
              <a:t>i</a:t>
            </a:r>
            <a:r>
              <a:rPr lang="es-ES" dirty="0" err="1"/>
              <a:t>nstruir</a:t>
            </a:r>
            <a:r>
              <a:rPr lang="es-ES" dirty="0"/>
              <a:t> y verificar que los trabajadores conozcan y cumplan con los estándares y PETS.</a:t>
            </a:r>
            <a:endParaRPr lang="en-US" dirty="0"/>
          </a:p>
        </p:txBody>
      </p:sp>
      <p:sp>
        <p:nvSpPr>
          <p:cNvPr id="43" name="TextBox 55">
            <a:extLst>
              <a:ext uri="{FF2B5EF4-FFF2-40B4-BE49-F238E27FC236}">
                <a16:creationId xmlns:a16="http://schemas.microsoft.com/office/drawing/2014/main" id="{D34A1656-BCB3-2EE2-286D-20A975012015}"/>
              </a:ext>
            </a:extLst>
          </p:cNvPr>
          <p:cNvSpPr txBox="1"/>
          <p:nvPr/>
        </p:nvSpPr>
        <p:spPr>
          <a:xfrm>
            <a:off x="6430122" y="1291844"/>
            <a:ext cx="1463862" cy="253916"/>
          </a:xfrm>
          <a:prstGeom prst="rect">
            <a:avLst/>
          </a:prstGeom>
          <a:noFill/>
        </p:spPr>
        <p:txBody>
          <a:bodyPr wrap="none" rtlCol="0" anchor="b" anchorCtr="0">
            <a:spAutoFit/>
          </a:bodyPr>
          <a:lstStyle/>
          <a:p>
            <a:r>
              <a:rPr lang="en-US" sz="1050" b="1" dirty="0">
                <a:solidFill>
                  <a:schemeClr val="tx2"/>
                </a:solidFill>
                <a:latin typeface="Poppins SemiBold" pitchFamily="2" charset="77"/>
                <a:ea typeface="League Spartan" charset="0"/>
                <a:cs typeface="Poppins SemiBold" pitchFamily="2" charset="77"/>
              </a:rPr>
              <a:t>¿</a:t>
            </a:r>
            <a:r>
              <a:rPr lang="en-US" sz="1050" b="1" dirty="0" err="1">
                <a:solidFill>
                  <a:schemeClr val="tx2"/>
                </a:solidFill>
                <a:latin typeface="Poppins SemiBold" pitchFamily="2" charset="77"/>
                <a:ea typeface="League Spartan" charset="0"/>
                <a:cs typeface="Poppins SemiBold" pitchFamily="2" charset="77"/>
              </a:rPr>
              <a:t>Qué</a:t>
            </a:r>
            <a:r>
              <a:rPr lang="en-US" sz="1050" b="1" dirty="0">
                <a:solidFill>
                  <a:schemeClr val="tx2"/>
                </a:solidFill>
                <a:latin typeface="Poppins SemiBold" pitchFamily="2" charset="77"/>
                <a:ea typeface="League Spartan" charset="0"/>
                <a:cs typeface="Poppins SemiBold" pitchFamily="2" charset="77"/>
              </a:rPr>
              <a:t> son </a:t>
            </a:r>
            <a:r>
              <a:rPr lang="en-US" sz="1050" b="1" dirty="0" err="1">
                <a:solidFill>
                  <a:schemeClr val="tx2"/>
                </a:solidFill>
                <a:latin typeface="Poppins SemiBold" pitchFamily="2" charset="77"/>
                <a:ea typeface="League Spartan" charset="0"/>
                <a:cs typeface="Poppins SemiBold" pitchFamily="2" charset="77"/>
              </a:rPr>
              <a:t>los</a:t>
            </a:r>
            <a:r>
              <a:rPr lang="en-US" sz="1050" b="1" dirty="0">
                <a:solidFill>
                  <a:schemeClr val="tx2"/>
                </a:solidFill>
                <a:latin typeface="Poppins SemiBold" pitchFamily="2" charset="77"/>
                <a:ea typeface="League Spartan" charset="0"/>
                <a:cs typeface="Poppins SemiBold" pitchFamily="2" charset="77"/>
              </a:rPr>
              <a:t> PETS?</a:t>
            </a:r>
          </a:p>
        </p:txBody>
      </p:sp>
      <p:sp>
        <p:nvSpPr>
          <p:cNvPr id="44" name="Subtitle 2">
            <a:extLst>
              <a:ext uri="{FF2B5EF4-FFF2-40B4-BE49-F238E27FC236}">
                <a16:creationId xmlns:a16="http://schemas.microsoft.com/office/drawing/2014/main" id="{1FD1EF36-BF33-1601-50B8-814B56FB04D5}"/>
              </a:ext>
            </a:extLst>
          </p:cNvPr>
          <p:cNvSpPr txBox="1">
            <a:spLocks/>
          </p:cNvSpPr>
          <p:nvPr/>
        </p:nvSpPr>
        <p:spPr>
          <a:xfrm>
            <a:off x="6367242" y="1533401"/>
            <a:ext cx="5050057" cy="754053"/>
          </a:xfrm>
          <a:prstGeom prst="rect">
            <a:avLst/>
          </a:prstGeom>
        </p:spPr>
        <p:txBody>
          <a:bodyPr vert="horz" wrap="square" lIns="91440" tIns="45720" rIns="91440" bIns="91440" rtlCol="0" anchor="t">
            <a:spAutoFit/>
          </a:bodyPr>
          <a:lstStyle>
            <a:defPPr>
              <a:defRPr lang="en-US"/>
            </a:defPPr>
            <a:lvl1pPr indent="0" defTabSz="1087636">
              <a:lnSpc>
                <a:spcPct val="100000"/>
              </a:lnSpc>
              <a:spcBef>
                <a:spcPct val="20000"/>
              </a:spcBef>
              <a:buFont typeface="Arial"/>
              <a:buNone/>
              <a:defRPr sz="10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dirty="0"/>
              <a:t>Son documentos que contienen la descripción específica de la forma cómo llevar a cabo o desarrollar una tarea de manera correcta desde el comienzo hasta el final, dividida en un conjunto de pasos consecutivos o sistemáticos. Resuelve la pregunta: ¿Cómo hacer el trabajo/tarea de manera correcta y segura?</a:t>
            </a:r>
            <a:endParaRPr lang="en-US" dirty="0"/>
          </a:p>
        </p:txBody>
      </p:sp>
      <p:sp>
        <p:nvSpPr>
          <p:cNvPr id="45" name="TextBox 55">
            <a:extLst>
              <a:ext uri="{FF2B5EF4-FFF2-40B4-BE49-F238E27FC236}">
                <a16:creationId xmlns:a16="http://schemas.microsoft.com/office/drawing/2014/main" id="{85705925-46EE-54D9-4252-5894CE75B5A7}"/>
              </a:ext>
            </a:extLst>
          </p:cNvPr>
          <p:cNvSpPr txBox="1"/>
          <p:nvPr/>
        </p:nvSpPr>
        <p:spPr>
          <a:xfrm>
            <a:off x="5210861" y="3879394"/>
            <a:ext cx="5190845" cy="253916"/>
          </a:xfrm>
          <a:prstGeom prst="rect">
            <a:avLst/>
          </a:prstGeom>
          <a:noFill/>
        </p:spPr>
        <p:txBody>
          <a:bodyPr wrap="none" rtlCol="0" anchor="b" anchorCtr="0">
            <a:spAutoFit/>
          </a:bodyPr>
          <a:lstStyle/>
          <a:p>
            <a:r>
              <a:rPr lang="en-US" sz="1050" b="1" dirty="0">
                <a:solidFill>
                  <a:schemeClr val="tx2"/>
                </a:solidFill>
                <a:latin typeface="Poppins SemiBold" pitchFamily="2" charset="77"/>
                <a:ea typeface="League Spartan" charset="0"/>
                <a:cs typeface="Poppins SemiBold" pitchFamily="2" charset="77"/>
              </a:rPr>
              <a:t>¿</a:t>
            </a:r>
            <a:r>
              <a:rPr lang="en-US" sz="1050" b="1" dirty="0" err="1">
                <a:solidFill>
                  <a:schemeClr val="tx2"/>
                </a:solidFill>
                <a:latin typeface="Poppins SemiBold" pitchFamily="2" charset="77"/>
                <a:ea typeface="League Spartan" charset="0"/>
                <a:cs typeface="Poppins SemiBold" pitchFamily="2" charset="77"/>
              </a:rPr>
              <a:t>Cuáles</a:t>
            </a:r>
            <a:r>
              <a:rPr lang="en-US" sz="1050" b="1" dirty="0">
                <a:solidFill>
                  <a:schemeClr val="tx2"/>
                </a:solidFill>
                <a:latin typeface="Poppins SemiBold" pitchFamily="2" charset="77"/>
                <a:ea typeface="League Spartan" charset="0"/>
                <a:cs typeface="Poppins SemiBold" pitchFamily="2" charset="77"/>
              </a:rPr>
              <a:t> son las </a:t>
            </a:r>
            <a:r>
              <a:rPr lang="en-US" sz="1050" b="1" dirty="0" err="1">
                <a:solidFill>
                  <a:schemeClr val="tx2"/>
                </a:solidFill>
                <a:latin typeface="Poppins SemiBold" pitchFamily="2" charset="77"/>
                <a:ea typeface="League Spartan" charset="0"/>
                <a:cs typeface="Poppins SemiBold" pitchFamily="2" charset="77"/>
              </a:rPr>
              <a:t>obligaciones</a:t>
            </a:r>
            <a:r>
              <a:rPr lang="en-US" sz="1050" b="1" dirty="0">
                <a:solidFill>
                  <a:schemeClr val="tx2"/>
                </a:solidFill>
                <a:latin typeface="Poppins SemiBold" pitchFamily="2" charset="77"/>
                <a:ea typeface="League Spartan" charset="0"/>
                <a:cs typeface="Poppins SemiBold" pitchFamily="2" charset="77"/>
              </a:rPr>
              <a:t> de </a:t>
            </a:r>
            <a:r>
              <a:rPr lang="en-US" sz="1050" b="1" dirty="0" err="1">
                <a:solidFill>
                  <a:schemeClr val="tx2"/>
                </a:solidFill>
                <a:latin typeface="Poppins SemiBold" pitchFamily="2" charset="77"/>
                <a:ea typeface="League Spartan" charset="0"/>
                <a:cs typeface="Poppins SemiBold" pitchFamily="2" charset="77"/>
              </a:rPr>
              <a:t>los</a:t>
            </a:r>
            <a:r>
              <a:rPr lang="en-US" sz="1050" b="1" dirty="0">
                <a:solidFill>
                  <a:schemeClr val="tx2"/>
                </a:solidFill>
                <a:latin typeface="Poppins SemiBold" pitchFamily="2" charset="77"/>
                <a:ea typeface="League Spartan" charset="0"/>
                <a:cs typeface="Poppins SemiBold" pitchFamily="2" charset="77"/>
              </a:rPr>
              <a:t> </a:t>
            </a:r>
            <a:r>
              <a:rPr lang="en-US" sz="1050" b="1" dirty="0" err="1">
                <a:solidFill>
                  <a:schemeClr val="tx2"/>
                </a:solidFill>
                <a:latin typeface="Poppins SemiBold" pitchFamily="2" charset="77"/>
                <a:ea typeface="League Spartan" charset="0"/>
                <a:cs typeface="Poppins SemiBold" pitchFamily="2" charset="77"/>
              </a:rPr>
              <a:t>trabajadores</a:t>
            </a:r>
            <a:r>
              <a:rPr lang="en-US" sz="1050" b="1" dirty="0">
                <a:solidFill>
                  <a:schemeClr val="tx2"/>
                </a:solidFill>
                <a:latin typeface="Poppins SemiBold" pitchFamily="2" charset="77"/>
                <a:ea typeface="League Spartan" charset="0"/>
                <a:cs typeface="Poppins SemiBold" pitchFamily="2" charset="77"/>
              </a:rPr>
              <a:t> con </a:t>
            </a:r>
            <a:r>
              <a:rPr lang="en-US" sz="1050" b="1" dirty="0" err="1">
                <a:solidFill>
                  <a:schemeClr val="tx2"/>
                </a:solidFill>
                <a:latin typeface="Poppins SemiBold" pitchFamily="2" charset="77"/>
                <a:ea typeface="League Spartan" charset="0"/>
                <a:cs typeface="Poppins SemiBold" pitchFamily="2" charset="77"/>
              </a:rPr>
              <a:t>relación</a:t>
            </a:r>
            <a:r>
              <a:rPr lang="en-US" sz="1050" b="1" dirty="0">
                <a:solidFill>
                  <a:schemeClr val="tx2"/>
                </a:solidFill>
                <a:latin typeface="Poppins SemiBold" pitchFamily="2" charset="77"/>
                <a:ea typeface="League Spartan" charset="0"/>
                <a:cs typeface="Poppins SemiBold" pitchFamily="2" charset="77"/>
              </a:rPr>
              <a:t> a </a:t>
            </a:r>
            <a:r>
              <a:rPr lang="en-US" sz="1050" b="1" dirty="0" err="1">
                <a:solidFill>
                  <a:schemeClr val="tx2"/>
                </a:solidFill>
                <a:latin typeface="Poppins SemiBold" pitchFamily="2" charset="77"/>
                <a:ea typeface="League Spartan" charset="0"/>
                <a:cs typeface="Poppins SemiBold" pitchFamily="2" charset="77"/>
              </a:rPr>
              <a:t>los</a:t>
            </a:r>
            <a:r>
              <a:rPr lang="en-US" sz="1050" b="1" dirty="0">
                <a:solidFill>
                  <a:schemeClr val="tx2"/>
                </a:solidFill>
                <a:latin typeface="Poppins SemiBold" pitchFamily="2" charset="77"/>
                <a:ea typeface="League Spartan" charset="0"/>
                <a:cs typeface="Poppins SemiBold" pitchFamily="2" charset="77"/>
              </a:rPr>
              <a:t> PETS?</a:t>
            </a:r>
          </a:p>
        </p:txBody>
      </p:sp>
      <p:sp>
        <p:nvSpPr>
          <p:cNvPr id="46" name="Subtitle 2">
            <a:extLst>
              <a:ext uri="{FF2B5EF4-FFF2-40B4-BE49-F238E27FC236}">
                <a16:creationId xmlns:a16="http://schemas.microsoft.com/office/drawing/2014/main" id="{40FAD8D7-1D37-1927-C6BF-3FEAAEAD5194}"/>
              </a:ext>
            </a:extLst>
          </p:cNvPr>
          <p:cNvSpPr txBox="1">
            <a:spLocks/>
          </p:cNvSpPr>
          <p:nvPr/>
        </p:nvSpPr>
        <p:spPr>
          <a:xfrm>
            <a:off x="5238757" y="4155358"/>
            <a:ext cx="5817917" cy="846386"/>
          </a:xfrm>
          <a:prstGeom prst="rect">
            <a:avLst/>
          </a:prstGeom>
        </p:spPr>
        <p:txBody>
          <a:bodyPr vert="horz" wrap="square" lIns="91440" tIns="45720" rIns="9144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os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rabajadores</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stán</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bligados</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 </a:t>
            </a:r>
          </a:p>
          <a:p>
            <a:pPr marL="171450" indent="-171450" algn="l">
              <a:lnSpc>
                <a:spcPct val="100000"/>
              </a:lnSpc>
              <a:buFont typeface="Arial" panose="020B0604020202020204" pitchFamily="34" charset="0"/>
              <a:buChar char="•"/>
            </a:pPr>
            <a:r>
              <a:rPr lang="es-ES" sz="1000" dirty="0">
                <a:solidFill>
                  <a:schemeClr val="tx1"/>
                </a:solidFill>
              </a:rPr>
              <a:t>Cumplir con lo descrito en el PETS.</a:t>
            </a:r>
          </a:p>
          <a:p>
            <a:pPr marL="171450" indent="-171450" algn="l">
              <a:lnSpc>
                <a:spcPct val="100000"/>
              </a:lnSpc>
              <a:buFont typeface="Arial" panose="020B0604020202020204" pitchFamily="34" charset="0"/>
              <a:buChar char="•"/>
            </a:pPr>
            <a:r>
              <a:rPr lang="es-ES" sz="1000" dirty="0">
                <a:solidFill>
                  <a:schemeClr val="tx1"/>
                </a:solidFill>
              </a:rPr>
              <a:t>Revisar el PETS previo a la ejecución de la tarea.</a:t>
            </a:r>
          </a:p>
          <a:p>
            <a:pPr marL="171450" indent="-171450" algn="l">
              <a:lnSpc>
                <a:spcPct val="100000"/>
              </a:lnSpc>
              <a:buFont typeface="Arial" panose="020B0604020202020204" pitchFamily="34" charset="0"/>
              <a:buChar char="•"/>
            </a:pPr>
            <a:r>
              <a:rPr lang="es-ES" sz="1000" dirty="0">
                <a:solidFill>
                  <a:schemeClr val="tx1"/>
                </a:solidFill>
              </a:rPr>
              <a:t>Participar activamente en la actualización de los mismos.</a:t>
            </a:r>
          </a:p>
        </p:txBody>
      </p:sp>
      <p:sp>
        <p:nvSpPr>
          <p:cNvPr id="49" name="TextBox 55">
            <a:extLst>
              <a:ext uri="{FF2B5EF4-FFF2-40B4-BE49-F238E27FC236}">
                <a16:creationId xmlns:a16="http://schemas.microsoft.com/office/drawing/2014/main" id="{135A154E-E1D8-E0EA-0802-1DA970891AA1}"/>
              </a:ext>
            </a:extLst>
          </p:cNvPr>
          <p:cNvSpPr txBox="1"/>
          <p:nvPr/>
        </p:nvSpPr>
        <p:spPr>
          <a:xfrm>
            <a:off x="6367243" y="5467104"/>
            <a:ext cx="2111475" cy="253916"/>
          </a:xfrm>
          <a:prstGeom prst="rect">
            <a:avLst/>
          </a:prstGeom>
          <a:noFill/>
        </p:spPr>
        <p:txBody>
          <a:bodyPr wrap="none" rtlCol="0" anchor="b" anchorCtr="0">
            <a:spAutoFit/>
          </a:bodyPr>
          <a:lstStyle/>
          <a:p>
            <a:r>
              <a:rPr lang="en-US" sz="1050" b="1" dirty="0">
                <a:solidFill>
                  <a:schemeClr val="tx2"/>
                </a:solidFill>
                <a:latin typeface="Poppins SemiBold" pitchFamily="2" charset="77"/>
                <a:ea typeface="League Spartan" charset="0"/>
                <a:cs typeface="Poppins SemiBold" pitchFamily="2" charset="77"/>
              </a:rPr>
              <a:t>¿</a:t>
            </a:r>
            <a:r>
              <a:rPr lang="en-US" sz="1050" b="1" dirty="0" err="1">
                <a:solidFill>
                  <a:schemeClr val="tx2"/>
                </a:solidFill>
                <a:latin typeface="Poppins SemiBold" pitchFamily="2" charset="77"/>
                <a:ea typeface="League Spartan" charset="0"/>
                <a:cs typeface="Poppins SemiBold" pitchFamily="2" charset="77"/>
              </a:rPr>
              <a:t>Qué</a:t>
            </a:r>
            <a:r>
              <a:rPr lang="en-US" sz="1050" b="1" dirty="0">
                <a:solidFill>
                  <a:schemeClr val="tx2"/>
                </a:solidFill>
                <a:latin typeface="Poppins SemiBold" pitchFamily="2" charset="77"/>
                <a:ea typeface="League Spartan" charset="0"/>
                <a:cs typeface="Poppins SemiBold" pitchFamily="2" charset="77"/>
              </a:rPr>
              <a:t> </a:t>
            </a:r>
            <a:r>
              <a:rPr lang="en-US" sz="1050" b="1" dirty="0" err="1">
                <a:solidFill>
                  <a:schemeClr val="tx2"/>
                </a:solidFill>
                <a:latin typeface="Poppins SemiBold" pitchFamily="2" charset="77"/>
                <a:ea typeface="League Spartan" charset="0"/>
                <a:cs typeface="Poppins SemiBold" pitchFamily="2" charset="77"/>
              </a:rPr>
              <a:t>deben</a:t>
            </a:r>
            <a:r>
              <a:rPr lang="en-US" sz="1050" b="1" dirty="0">
                <a:solidFill>
                  <a:schemeClr val="tx2"/>
                </a:solidFill>
                <a:latin typeface="Poppins SemiBold" pitchFamily="2" charset="77"/>
                <a:ea typeface="League Spartan" charset="0"/>
                <a:cs typeface="Poppins SemiBold" pitchFamily="2" charset="77"/>
              </a:rPr>
              <a:t> </a:t>
            </a:r>
            <a:r>
              <a:rPr lang="en-US" sz="1050" b="1" dirty="0" err="1">
                <a:solidFill>
                  <a:schemeClr val="tx2"/>
                </a:solidFill>
                <a:latin typeface="Poppins SemiBold" pitchFamily="2" charset="77"/>
                <a:ea typeface="League Spartan" charset="0"/>
                <a:cs typeface="Poppins SemiBold" pitchFamily="2" charset="77"/>
              </a:rPr>
              <a:t>Incluir</a:t>
            </a:r>
            <a:r>
              <a:rPr lang="en-US" sz="1050" b="1" dirty="0">
                <a:solidFill>
                  <a:schemeClr val="tx2"/>
                </a:solidFill>
                <a:latin typeface="Poppins SemiBold" pitchFamily="2" charset="77"/>
                <a:ea typeface="League Spartan" charset="0"/>
                <a:cs typeface="Poppins SemiBold" pitchFamily="2" charset="77"/>
              </a:rPr>
              <a:t> </a:t>
            </a:r>
            <a:r>
              <a:rPr lang="en-US" sz="1050" b="1" dirty="0" err="1">
                <a:solidFill>
                  <a:schemeClr val="tx2"/>
                </a:solidFill>
                <a:latin typeface="Poppins SemiBold" pitchFamily="2" charset="77"/>
                <a:ea typeface="League Spartan" charset="0"/>
                <a:cs typeface="Poppins SemiBold" pitchFamily="2" charset="77"/>
              </a:rPr>
              <a:t>los</a:t>
            </a:r>
            <a:r>
              <a:rPr lang="en-US" sz="1050" b="1" dirty="0">
                <a:solidFill>
                  <a:schemeClr val="tx2"/>
                </a:solidFill>
                <a:latin typeface="Poppins SemiBold" pitchFamily="2" charset="77"/>
                <a:ea typeface="League Spartan" charset="0"/>
                <a:cs typeface="Poppins SemiBold" pitchFamily="2" charset="77"/>
              </a:rPr>
              <a:t> PETS?</a:t>
            </a:r>
          </a:p>
        </p:txBody>
      </p:sp>
      <p:sp>
        <p:nvSpPr>
          <p:cNvPr id="50" name="Subtitle 2">
            <a:extLst>
              <a:ext uri="{FF2B5EF4-FFF2-40B4-BE49-F238E27FC236}">
                <a16:creationId xmlns:a16="http://schemas.microsoft.com/office/drawing/2014/main" id="{2570A5AF-948F-9D13-1B03-1A69F3973CD7}"/>
              </a:ext>
            </a:extLst>
          </p:cNvPr>
          <p:cNvSpPr txBox="1">
            <a:spLocks/>
          </p:cNvSpPr>
          <p:nvPr/>
        </p:nvSpPr>
        <p:spPr>
          <a:xfrm>
            <a:off x="6400493" y="5748555"/>
            <a:ext cx="4098674" cy="1031051"/>
          </a:xfrm>
          <a:prstGeom prst="rect">
            <a:avLst/>
          </a:prstGeom>
        </p:spPr>
        <p:txBody>
          <a:bodyPr vert="horz" wrap="square" lIns="91440" tIns="45720" rIns="9144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indent="-228600" algn="l">
              <a:lnSpc>
                <a:spcPct val="100000"/>
              </a:lnSpc>
              <a:buAutoNum type="arabicPeriod"/>
            </a:pP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querimiento</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de Personal </a:t>
            </a:r>
          </a:p>
          <a:p>
            <a:pPr marL="228600" indent="-228600" algn="l">
              <a:lnSpc>
                <a:spcPct val="100000"/>
              </a:lnSpc>
              <a:buAutoNum type="arabicPeriod"/>
            </a:pP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querimiento</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de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quipos</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de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tección</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Personal </a:t>
            </a:r>
          </a:p>
          <a:p>
            <a:pPr marL="228600" indent="-228600" algn="l">
              <a:lnSpc>
                <a:spcPct val="100000"/>
              </a:lnSpc>
              <a:buAutoNum type="arabicPeriod"/>
            </a:pP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querimiento</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de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quipos</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Herramientas</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teriales</a:t>
            </a:r>
            <a:endPar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228600" indent="-228600" algn="l">
              <a:lnSpc>
                <a:spcPct val="100000"/>
              </a:lnSpc>
              <a:buAutoNum type="arabicPeriod"/>
            </a:pP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cedimiento</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tallar</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l</a:t>
            </a:r>
            <a:r>
              <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paso a paso)</a:t>
            </a:r>
          </a:p>
          <a:p>
            <a:pPr marL="228600" indent="-228600" algn="l">
              <a:lnSpc>
                <a:spcPct val="100000"/>
              </a:lnSpc>
              <a:buAutoNum type="arabicPeriod"/>
            </a:pPr>
            <a:r>
              <a:rPr lang="en-US" sz="1000"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stricciones</a:t>
            </a:r>
            <a:endParaRPr lang="en-US" sz="10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1" name="Rectángulo 13">
            <a:extLst>
              <a:ext uri="{FF2B5EF4-FFF2-40B4-BE49-F238E27FC236}">
                <a16:creationId xmlns:a16="http://schemas.microsoft.com/office/drawing/2014/main" id="{2219EEE5-53DD-9B3D-0CCE-36B49649D1B4}"/>
              </a:ext>
            </a:extLst>
          </p:cNvPr>
          <p:cNvSpPr/>
          <p:nvPr/>
        </p:nvSpPr>
        <p:spPr>
          <a:xfrm>
            <a:off x="1124841" y="2050743"/>
            <a:ext cx="126161" cy="397879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52" name="Shape 2527">
            <a:extLst>
              <a:ext uri="{FF2B5EF4-FFF2-40B4-BE49-F238E27FC236}">
                <a16:creationId xmlns:a16="http://schemas.microsoft.com/office/drawing/2014/main" id="{9C0F103F-EB30-CFDD-FD54-B4F1C7D6AA51}"/>
              </a:ext>
            </a:extLst>
          </p:cNvPr>
          <p:cNvSpPr>
            <a:spLocks noChangeAspect="1"/>
          </p:cNvSpPr>
          <p:nvPr/>
        </p:nvSpPr>
        <p:spPr>
          <a:xfrm>
            <a:off x="4244146" y="2631067"/>
            <a:ext cx="295963" cy="246512"/>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Open Sans Semibold" charset="0"/>
              <a:ea typeface="Open Sans Semibold" charset="0"/>
              <a:cs typeface="Open Sans Semibold" charset="0"/>
            </a:endParaRPr>
          </a:p>
        </p:txBody>
      </p:sp>
      <p:sp>
        <p:nvSpPr>
          <p:cNvPr id="53" name="Shape 2546">
            <a:extLst>
              <a:ext uri="{FF2B5EF4-FFF2-40B4-BE49-F238E27FC236}">
                <a16:creationId xmlns:a16="http://schemas.microsoft.com/office/drawing/2014/main" id="{0357DB91-35B6-B398-16FD-7CE95D671B39}"/>
              </a:ext>
            </a:extLst>
          </p:cNvPr>
          <p:cNvSpPr>
            <a:spLocks noChangeAspect="1"/>
          </p:cNvSpPr>
          <p:nvPr/>
        </p:nvSpPr>
        <p:spPr>
          <a:xfrm>
            <a:off x="4219774" y="5229770"/>
            <a:ext cx="295963" cy="201692"/>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Open Sans Semibold" charset="0"/>
              <a:ea typeface="Open Sans Semibold" charset="0"/>
              <a:cs typeface="Open Sans Semibold" charset="0"/>
            </a:endParaRPr>
          </a:p>
        </p:txBody>
      </p:sp>
      <p:sp>
        <p:nvSpPr>
          <p:cNvPr id="54" name="Shape 2623">
            <a:extLst>
              <a:ext uri="{FF2B5EF4-FFF2-40B4-BE49-F238E27FC236}">
                <a16:creationId xmlns:a16="http://schemas.microsoft.com/office/drawing/2014/main" id="{FBB3754D-DEFA-01D0-6C0D-138004E08081}"/>
              </a:ext>
            </a:extLst>
          </p:cNvPr>
          <p:cNvSpPr>
            <a:spLocks noChangeAspect="1"/>
          </p:cNvSpPr>
          <p:nvPr/>
        </p:nvSpPr>
        <p:spPr>
          <a:xfrm>
            <a:off x="5343038" y="5901735"/>
            <a:ext cx="295963" cy="246512"/>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Open Sans Semibold" charset="0"/>
              <a:ea typeface="Open Sans Semibold" charset="0"/>
              <a:cs typeface="Open Sans Semibold" charset="0"/>
            </a:endParaRPr>
          </a:p>
        </p:txBody>
      </p:sp>
      <p:sp>
        <p:nvSpPr>
          <p:cNvPr id="55" name="Shape 2538">
            <a:extLst>
              <a:ext uri="{FF2B5EF4-FFF2-40B4-BE49-F238E27FC236}">
                <a16:creationId xmlns:a16="http://schemas.microsoft.com/office/drawing/2014/main" id="{7C71F85C-1055-31A5-D63F-8C5ED72025CD}"/>
              </a:ext>
            </a:extLst>
          </p:cNvPr>
          <p:cNvSpPr>
            <a:spLocks noChangeAspect="1"/>
          </p:cNvSpPr>
          <p:nvPr/>
        </p:nvSpPr>
        <p:spPr>
          <a:xfrm>
            <a:off x="5373527" y="1948633"/>
            <a:ext cx="242151" cy="246512"/>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Open Sans Semibold" charset="0"/>
              <a:ea typeface="Open Sans Semibold" charset="0"/>
              <a:cs typeface="Open Sans Semibold" charset="0"/>
            </a:endParaRPr>
          </a:p>
        </p:txBody>
      </p:sp>
    </p:spTree>
    <p:extLst>
      <p:ext uri="{BB962C8B-B14F-4D97-AF65-F5344CB8AC3E}">
        <p14:creationId xmlns:p14="http://schemas.microsoft.com/office/powerpoint/2010/main" val="256299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63E11-F3CC-18C3-E0AA-94D89D53A965}"/>
              </a:ext>
            </a:extLst>
          </p:cNvPr>
          <p:cNvSpPr txBox="1">
            <a:spLocks noChangeArrowheads="1"/>
          </p:cNvSpPr>
          <p:nvPr/>
        </p:nvSpPr>
        <p:spPr>
          <a:xfrm>
            <a:off x="461139" y="2479675"/>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rPr>
              <a:t>R</a:t>
            </a:r>
            <a:r>
              <a:rPr lang="en-US" altLang="en-US" sz="2800" dirty="0">
                <a:solidFill>
                  <a:schemeClr val="bg1"/>
                </a:solidFill>
              </a:rPr>
              <a:t>EPORTE DE INCIDENTES</a:t>
            </a:r>
          </a:p>
        </p:txBody>
      </p:sp>
      <p:sp>
        <p:nvSpPr>
          <p:cNvPr id="4" name="Subtitle 2">
            <a:extLst>
              <a:ext uri="{FF2B5EF4-FFF2-40B4-BE49-F238E27FC236}">
                <a16:creationId xmlns:a16="http://schemas.microsoft.com/office/drawing/2014/main" id="{00263C98-E602-FF2F-73CD-3834C4FA2869}"/>
              </a:ext>
            </a:extLst>
          </p:cNvPr>
          <p:cNvSpPr txBox="1">
            <a:spLocks noChangeArrowheads="1"/>
          </p:cNvSpPr>
          <p:nvPr/>
        </p:nvSpPr>
        <p:spPr bwMode="auto">
          <a:xfrm>
            <a:off x="461139" y="4314825"/>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BB5D00"/>
              </a:buClr>
              <a:buSzPct val="11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a:lnSpc>
                <a:spcPct val="90000"/>
              </a:lnSpc>
              <a:spcBef>
                <a:spcPts val="500"/>
              </a:spcBef>
              <a:buClr>
                <a:srgbClr val="DF572A"/>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a:lnSpc>
                <a:spcPct val="90000"/>
              </a:lnSpc>
              <a:spcBef>
                <a:spcPts val="500"/>
              </a:spcBef>
              <a:buClr>
                <a:srgbClr val="DF572A"/>
              </a:buClr>
              <a:buSzPct val="800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a:lnSpc>
                <a:spcPct val="90000"/>
              </a:lnSpc>
              <a:spcBef>
                <a:spcPts val="500"/>
              </a:spcBef>
              <a:buClr>
                <a:srgbClr val="DF572A"/>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a:lnSpc>
                <a:spcPct val="90000"/>
              </a:lnSpc>
              <a:spcBef>
                <a:spcPts val="500"/>
              </a:spcBef>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5pPr>
            <a:lvl6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6pPr>
            <a:lvl7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7pPr>
            <a:lvl8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8pPr>
            <a:lvl9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endParaRPr lang="en-US" altLang="en-US" sz="1800" dirty="0">
              <a:solidFill>
                <a:schemeClr val="bg1"/>
              </a:solidFill>
              <a:latin typeface="+mj-lt"/>
            </a:endParaRPr>
          </a:p>
        </p:txBody>
      </p:sp>
    </p:spTree>
    <p:extLst>
      <p:ext uri="{BB962C8B-B14F-4D97-AF65-F5344CB8AC3E}">
        <p14:creationId xmlns:p14="http://schemas.microsoft.com/office/powerpoint/2010/main" val="10463657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1BF81-13E5-A3B7-DDB3-A7DEFBF6F67A}"/>
              </a:ext>
            </a:extLst>
          </p:cNvPr>
          <p:cNvSpPr>
            <a:spLocks noGrp="1"/>
          </p:cNvSpPr>
          <p:nvPr>
            <p:ph type="title"/>
          </p:nvPr>
        </p:nvSpPr>
        <p:spPr/>
        <p:txBody>
          <a:bodyPr/>
          <a:lstStyle/>
          <a:p>
            <a:r>
              <a:rPr lang="es-PE" sz="2800" dirty="0"/>
              <a:t>REPORTE OPORTUNO DE INCIDENTES</a:t>
            </a:r>
          </a:p>
        </p:txBody>
      </p:sp>
      <p:sp>
        <p:nvSpPr>
          <p:cNvPr id="3" name="Content Placeholder 2">
            <a:extLst>
              <a:ext uri="{FF2B5EF4-FFF2-40B4-BE49-F238E27FC236}">
                <a16:creationId xmlns:a16="http://schemas.microsoft.com/office/drawing/2014/main" id="{1018DFF4-65D1-B828-8105-E7F110F91742}"/>
              </a:ext>
            </a:extLst>
          </p:cNvPr>
          <p:cNvSpPr>
            <a:spLocks noGrp="1"/>
          </p:cNvSpPr>
          <p:nvPr>
            <p:ph idx="1"/>
          </p:nvPr>
        </p:nvSpPr>
        <p:spPr>
          <a:xfrm>
            <a:off x="5147732" y="2440361"/>
            <a:ext cx="6378907" cy="3334372"/>
          </a:xfrm>
        </p:spPr>
        <p:txBody>
          <a:bodyPr/>
          <a:lstStyle/>
          <a:p>
            <a:pPr marL="0" indent="0" algn="just">
              <a:spcAft>
                <a:spcPts val="75"/>
              </a:spcAft>
              <a:buNone/>
            </a:pPr>
            <a:r>
              <a:rPr lang="es-PE" b="1" dirty="0">
                <a:solidFill>
                  <a:schemeClr val="tx2"/>
                </a:solidFill>
                <a:effectLst/>
                <a:latin typeface="Calibri" panose="020F0502020204030204" pitchFamily="34" charset="0"/>
                <a:ea typeface="Calibri" panose="020F0502020204030204" pitchFamily="34" charset="0"/>
                <a:cs typeface="Calibri" panose="020F0502020204030204" pitchFamily="34" charset="0"/>
              </a:rPr>
              <a:t>RECUERDA:</a:t>
            </a:r>
          </a:p>
          <a:p>
            <a:pPr algn="just">
              <a:spcAft>
                <a:spcPts val="75"/>
              </a:spcAft>
            </a:pPr>
            <a:r>
              <a:rPr lang="es-PE"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nte cualquier duda respecto a si una situación o suceso anormal debe ser considerado como “incidente”, debes de consultar inmediatamente con tu supervisor inmediato y con el supervisor de seguridad del área. </a:t>
            </a:r>
            <a:endParaRPr lang="es-PE" sz="1800" dirty="0">
              <a:effectLst/>
              <a:latin typeface="Calibri" panose="020F0502020204030204" pitchFamily="34" charset="0"/>
              <a:ea typeface="Calibri" panose="020F0502020204030204" pitchFamily="34" charset="0"/>
            </a:endParaRPr>
          </a:p>
          <a:p>
            <a:pPr algn="just"/>
            <a:r>
              <a:rPr lang="es-PE"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i presenciaste o estuviste involucrado en cualquier tipo de incidente, ya sea con </a:t>
            </a:r>
            <a:r>
              <a:rPr lang="es-PE" sz="1800" b="1" dirty="0">
                <a:solidFill>
                  <a:schemeClr val="tx2"/>
                </a:solidFill>
                <a:effectLst/>
                <a:latin typeface="Calibri" panose="020F0502020204030204" pitchFamily="34" charset="0"/>
                <a:ea typeface="Calibri" panose="020F0502020204030204" pitchFamily="34" charset="0"/>
                <a:cs typeface="Calibri" panose="020F0502020204030204" pitchFamily="34" charset="0"/>
              </a:rPr>
              <a:t>lesión, daño a la propiedad o cercano a pérdida</a:t>
            </a:r>
            <a:r>
              <a:rPr lang="es-PE"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obligatoriamente debes de comunicar a tu supervisor de forma inmediata y </a:t>
            </a:r>
            <a:r>
              <a:rPr lang="es-PE" sz="1800" b="1" dirty="0">
                <a:solidFill>
                  <a:schemeClr val="tx2"/>
                </a:solidFill>
                <a:effectLst/>
                <a:latin typeface="Calibri" panose="020F0502020204030204" pitchFamily="34" charset="0"/>
                <a:ea typeface="Calibri" panose="020F0502020204030204" pitchFamily="34" charset="0"/>
                <a:cs typeface="Calibri" panose="020F0502020204030204" pitchFamily="34" charset="0"/>
              </a:rPr>
              <a:t>sin ningún temor. </a:t>
            </a:r>
            <a:endParaRPr lang="es-PE" sz="1800" b="1" dirty="0">
              <a:solidFill>
                <a:schemeClr val="tx2"/>
              </a:solidFill>
              <a:effectLst/>
              <a:latin typeface="Calibri" panose="020F0502020204030204" pitchFamily="34" charset="0"/>
              <a:ea typeface="Calibri" panose="020F0502020204030204" pitchFamily="34" charset="0"/>
            </a:endParaRPr>
          </a:p>
          <a:p>
            <a:pPr marL="0" indent="0" algn="just">
              <a:buNone/>
            </a:pPr>
            <a:endParaRPr lang="es-PE" sz="1800" dirty="0">
              <a:effectLst/>
              <a:latin typeface="Calibri" panose="020F0502020204030204" pitchFamily="34" charset="0"/>
              <a:ea typeface="Calibri" panose="020F0502020204030204" pitchFamily="34" charset="0"/>
            </a:endParaRPr>
          </a:p>
          <a:p>
            <a:pPr marL="0" indent="0" algn="ctr">
              <a:buNone/>
            </a:pPr>
            <a:r>
              <a:rPr lang="es-PE" sz="1800" b="1" dirty="0">
                <a:solidFill>
                  <a:schemeClr val="tx2"/>
                </a:solidFill>
                <a:effectLst/>
                <a:latin typeface="Calibri" panose="020F0502020204030204" pitchFamily="34" charset="0"/>
                <a:ea typeface="Calibri" panose="020F0502020204030204" pitchFamily="34" charset="0"/>
                <a:cs typeface="Calibri" panose="020F0502020204030204" pitchFamily="34" charset="0"/>
              </a:rPr>
              <a:t>El reportar un incidente brinda la oportunidad de poder realizar un análisis para identificar la causa raíz que lo originó y poder implementar las acciones correctivas y preventivas para prevenir su recurrencia.</a:t>
            </a:r>
            <a:endParaRPr lang="es-PE" sz="1800" b="1" dirty="0">
              <a:solidFill>
                <a:schemeClr val="tx2"/>
              </a:solidFill>
              <a:effectLst/>
              <a:latin typeface="Calibri" panose="020F0502020204030204" pitchFamily="34" charset="0"/>
              <a:ea typeface="Calibri" panose="020F0502020204030204" pitchFamily="34" charset="0"/>
            </a:endParaRPr>
          </a:p>
          <a:p>
            <a:endParaRPr lang="es-PE" dirty="0"/>
          </a:p>
        </p:txBody>
      </p:sp>
      <p:sp>
        <p:nvSpPr>
          <p:cNvPr id="4" name="TextBox 3">
            <a:extLst>
              <a:ext uri="{FF2B5EF4-FFF2-40B4-BE49-F238E27FC236}">
                <a16:creationId xmlns:a16="http://schemas.microsoft.com/office/drawing/2014/main" id="{CFAC5E42-767D-EFD0-DDAB-A8853102B791}"/>
              </a:ext>
            </a:extLst>
          </p:cNvPr>
          <p:cNvSpPr txBox="1"/>
          <p:nvPr/>
        </p:nvSpPr>
        <p:spPr>
          <a:xfrm>
            <a:off x="410004" y="1417829"/>
            <a:ext cx="11353018" cy="830997"/>
          </a:xfrm>
          <a:prstGeom prst="rect">
            <a:avLst/>
          </a:prstGeom>
          <a:noFill/>
        </p:spPr>
        <p:txBody>
          <a:bodyPr wrap="square" rtlCol="0">
            <a:spAutoFit/>
          </a:bodyPr>
          <a:lstStyle/>
          <a:p>
            <a:pPr algn="ctr"/>
            <a:r>
              <a:rPr lang="es-PE"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t>Contamos con el Procedimiento: SSOpr0004 Reporte y Análisis de Incidentes, para los lineamientos y metodología de reporte, investigación y análisis de incidentes en SMCV, aplica tanto a trabajadores propios  como terceros.</a:t>
            </a:r>
          </a:p>
        </p:txBody>
      </p:sp>
      <p:pic>
        <p:nvPicPr>
          <p:cNvPr id="6" name="Picture 5">
            <a:extLst>
              <a:ext uri="{FF2B5EF4-FFF2-40B4-BE49-F238E27FC236}">
                <a16:creationId xmlns:a16="http://schemas.microsoft.com/office/drawing/2014/main" id="{AEFFD62D-3AC5-9829-0CC1-5BF9091BF9FC}"/>
              </a:ext>
            </a:extLst>
          </p:cNvPr>
          <p:cNvPicPr>
            <a:picLocks noChangeAspect="1"/>
          </p:cNvPicPr>
          <p:nvPr/>
        </p:nvPicPr>
        <p:blipFill>
          <a:blip r:embed="rId2"/>
          <a:stretch>
            <a:fillRect/>
          </a:stretch>
        </p:blipFill>
        <p:spPr>
          <a:xfrm>
            <a:off x="1270065" y="2115132"/>
            <a:ext cx="3001083" cy="4417639"/>
          </a:xfrm>
          <a:prstGeom prst="rect">
            <a:avLst/>
          </a:prstGeom>
          <a:ln>
            <a:solidFill>
              <a:srgbClr val="7A604D"/>
            </a:solidFill>
          </a:ln>
        </p:spPr>
      </p:pic>
    </p:spTree>
    <p:extLst>
      <p:ext uri="{BB962C8B-B14F-4D97-AF65-F5344CB8AC3E}">
        <p14:creationId xmlns:p14="http://schemas.microsoft.com/office/powerpoint/2010/main" val="27757447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92387E-268B-9A1F-489C-1C5F9CFE8940}"/>
              </a:ext>
            </a:extLst>
          </p:cNvPr>
          <p:cNvSpPr>
            <a:spLocks noGrp="1"/>
          </p:cNvSpPr>
          <p:nvPr>
            <p:ph type="title"/>
          </p:nvPr>
        </p:nvSpPr>
        <p:spPr>
          <a:xfrm>
            <a:off x="382955" y="366131"/>
            <a:ext cx="8779076" cy="607555"/>
          </a:xfrm>
        </p:spPr>
        <p:txBody>
          <a:bodyPr vert="horz" lIns="91440" tIns="45720" rIns="91440" bIns="45720" rtlCol="0" anchor="ctr">
            <a:noAutofit/>
          </a:bodyPr>
          <a:lstStyle/>
          <a:p>
            <a:r>
              <a:rPr lang="en-US" dirty="0"/>
              <a:t>Gestion de Incidentes de SSO</a:t>
            </a:r>
          </a:p>
        </p:txBody>
      </p:sp>
      <p:grpSp>
        <p:nvGrpSpPr>
          <p:cNvPr id="2" name="Group 1">
            <a:extLst>
              <a:ext uri="{FF2B5EF4-FFF2-40B4-BE49-F238E27FC236}">
                <a16:creationId xmlns:a16="http://schemas.microsoft.com/office/drawing/2014/main" id="{86AD6B20-2D74-2DF7-EC9C-106593A8E0E1}"/>
              </a:ext>
            </a:extLst>
          </p:cNvPr>
          <p:cNvGrpSpPr/>
          <p:nvPr/>
        </p:nvGrpSpPr>
        <p:grpSpPr>
          <a:xfrm>
            <a:off x="1" y="1159949"/>
            <a:ext cx="11933246" cy="5040355"/>
            <a:chOff x="1" y="1159949"/>
            <a:chExt cx="11933246" cy="5040355"/>
          </a:xfrm>
        </p:grpSpPr>
        <p:grpSp>
          <p:nvGrpSpPr>
            <p:cNvPr id="7" name="Group 6">
              <a:extLst>
                <a:ext uri="{FF2B5EF4-FFF2-40B4-BE49-F238E27FC236}">
                  <a16:creationId xmlns:a16="http://schemas.microsoft.com/office/drawing/2014/main" id="{36500A18-2D5D-CB2E-BAAC-8D90FDE3410C}"/>
                </a:ext>
              </a:extLst>
            </p:cNvPr>
            <p:cNvGrpSpPr/>
            <p:nvPr/>
          </p:nvGrpSpPr>
          <p:grpSpPr>
            <a:xfrm>
              <a:off x="1" y="1159949"/>
              <a:ext cx="11933246" cy="4177340"/>
              <a:chOff x="2333771" y="1718594"/>
              <a:chExt cx="19710110" cy="8365206"/>
            </a:xfrm>
          </p:grpSpPr>
          <p:sp>
            <p:nvSpPr>
              <p:cNvPr id="8" name="Freeform 3">
                <a:extLst>
                  <a:ext uri="{FF2B5EF4-FFF2-40B4-BE49-F238E27FC236}">
                    <a16:creationId xmlns:a16="http://schemas.microsoft.com/office/drawing/2014/main" id="{8F8C455B-312E-5151-6537-F78635B74B03}"/>
                  </a:ext>
                </a:extLst>
              </p:cNvPr>
              <p:cNvSpPr>
                <a:spLocks noChangeArrowheads="1"/>
              </p:cNvSpPr>
              <p:nvPr/>
            </p:nvSpPr>
            <p:spPr bwMode="auto">
              <a:xfrm>
                <a:off x="2333771" y="3887148"/>
                <a:ext cx="3575631" cy="2444453"/>
              </a:xfrm>
              <a:custGeom>
                <a:avLst/>
                <a:gdLst>
                  <a:gd name="T0" fmla="*/ 2855 w 2856"/>
                  <a:gd name="T1" fmla="*/ 1250 h 1953"/>
                  <a:gd name="T2" fmla="*/ 2855 w 2856"/>
                  <a:gd name="T3" fmla="*/ 1250 h 1953"/>
                  <a:gd name="T4" fmla="*/ 1683 w 2856"/>
                  <a:gd name="T5" fmla="*/ 1503 h 1953"/>
                  <a:gd name="T6" fmla="*/ 1683 w 2856"/>
                  <a:gd name="T7" fmla="*/ 1503 h 1953"/>
                  <a:gd name="T8" fmla="*/ 563 w 2856"/>
                  <a:gd name="T9" fmla="*/ 1952 h 1953"/>
                  <a:gd name="T10" fmla="*/ 0 w 2856"/>
                  <a:gd name="T11" fmla="*/ 826 h 1953"/>
                  <a:gd name="T12" fmla="*/ 0 w 2856"/>
                  <a:gd name="T13" fmla="*/ 826 h 1953"/>
                  <a:gd name="T14" fmla="*/ 1311 w 2856"/>
                  <a:gd name="T15" fmla="*/ 299 h 1953"/>
                  <a:gd name="T16" fmla="*/ 1311 w 2856"/>
                  <a:gd name="T17" fmla="*/ 299 h 1953"/>
                  <a:gd name="T18" fmla="*/ 2699 w 2856"/>
                  <a:gd name="T19" fmla="*/ 0 h 1953"/>
                  <a:gd name="T20" fmla="*/ 2855 w 2856"/>
                  <a:gd name="T21" fmla="*/ 1250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6" h="1953">
                    <a:moveTo>
                      <a:pt x="2855" y="1250"/>
                    </a:moveTo>
                    <a:lnTo>
                      <a:pt x="2855" y="1250"/>
                    </a:lnTo>
                    <a:cubicBezTo>
                      <a:pt x="2458" y="1300"/>
                      <a:pt x="2066" y="1385"/>
                      <a:pt x="1683" y="1503"/>
                    </a:cubicBezTo>
                    <a:lnTo>
                      <a:pt x="1683" y="1503"/>
                    </a:lnTo>
                    <a:cubicBezTo>
                      <a:pt x="1299" y="1621"/>
                      <a:pt x="924" y="1773"/>
                      <a:pt x="563" y="1952"/>
                    </a:cubicBezTo>
                    <a:lnTo>
                      <a:pt x="0" y="826"/>
                    </a:lnTo>
                    <a:lnTo>
                      <a:pt x="0" y="826"/>
                    </a:lnTo>
                    <a:cubicBezTo>
                      <a:pt x="421" y="616"/>
                      <a:pt x="859" y="438"/>
                      <a:pt x="1311" y="299"/>
                    </a:cubicBezTo>
                    <a:lnTo>
                      <a:pt x="1311" y="299"/>
                    </a:lnTo>
                    <a:cubicBezTo>
                      <a:pt x="1763" y="159"/>
                      <a:pt x="2228" y="59"/>
                      <a:pt x="2699" y="0"/>
                    </a:cubicBezTo>
                    <a:lnTo>
                      <a:pt x="2855" y="1250"/>
                    </a:lnTo>
                  </a:path>
                </a:pathLst>
              </a:custGeom>
              <a:solidFill>
                <a:schemeClr val="accent1"/>
              </a:solidFill>
              <a:ln>
                <a:noFill/>
              </a:ln>
              <a:effectLst/>
            </p:spPr>
            <p:txBody>
              <a:bodyPr wrap="none" anchor="ctr"/>
              <a:lstStyle/>
              <a:p>
                <a:endParaRPr lang="en-US" sz="6532" dirty="0">
                  <a:latin typeface="Open Sans Light" panose="020B0306030504020204" pitchFamily="34" charset="0"/>
                </a:endParaRPr>
              </a:p>
            </p:txBody>
          </p:sp>
          <p:sp>
            <p:nvSpPr>
              <p:cNvPr id="9" name="Freeform 4">
                <a:extLst>
                  <a:ext uri="{FF2B5EF4-FFF2-40B4-BE49-F238E27FC236}">
                    <a16:creationId xmlns:a16="http://schemas.microsoft.com/office/drawing/2014/main" id="{0DA60120-AD24-5798-ABDF-B24EAAC8B940}"/>
                  </a:ext>
                </a:extLst>
              </p:cNvPr>
              <p:cNvSpPr>
                <a:spLocks noChangeArrowheads="1"/>
              </p:cNvSpPr>
              <p:nvPr/>
            </p:nvSpPr>
            <p:spPr bwMode="auto">
              <a:xfrm>
                <a:off x="5699718" y="3809897"/>
                <a:ext cx="3537007" cy="1804371"/>
              </a:xfrm>
              <a:custGeom>
                <a:avLst/>
                <a:gdLst>
                  <a:gd name="T0" fmla="*/ 2545 w 2825"/>
                  <a:gd name="T1" fmla="*/ 1439 h 1440"/>
                  <a:gd name="T2" fmla="*/ 2545 w 2825"/>
                  <a:gd name="T3" fmla="*/ 1439 h 1440"/>
                  <a:gd name="T4" fmla="*/ 157 w 2825"/>
                  <a:gd name="T5" fmla="*/ 1315 h 1440"/>
                  <a:gd name="T6" fmla="*/ 0 w 2825"/>
                  <a:gd name="T7" fmla="*/ 65 h 1440"/>
                  <a:gd name="T8" fmla="*/ 0 w 2825"/>
                  <a:gd name="T9" fmla="*/ 65 h 1440"/>
                  <a:gd name="T10" fmla="*/ 709 w 2825"/>
                  <a:gd name="T11" fmla="*/ 8 h 1440"/>
                  <a:gd name="T12" fmla="*/ 709 w 2825"/>
                  <a:gd name="T13" fmla="*/ 8 h 1440"/>
                  <a:gd name="T14" fmla="*/ 1421 w 2825"/>
                  <a:gd name="T15" fmla="*/ 14 h 1440"/>
                  <a:gd name="T16" fmla="*/ 1421 w 2825"/>
                  <a:gd name="T17" fmla="*/ 14 h 1440"/>
                  <a:gd name="T18" fmla="*/ 2824 w 2825"/>
                  <a:gd name="T19" fmla="*/ 210 h 1440"/>
                  <a:gd name="T20" fmla="*/ 2545 w 2825"/>
                  <a:gd name="T21" fmla="*/ 1439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5" h="1440">
                    <a:moveTo>
                      <a:pt x="2545" y="1439"/>
                    </a:moveTo>
                    <a:lnTo>
                      <a:pt x="2545" y="1439"/>
                    </a:lnTo>
                    <a:cubicBezTo>
                      <a:pt x="1759" y="1259"/>
                      <a:pt x="950" y="1215"/>
                      <a:pt x="157" y="1315"/>
                    </a:cubicBezTo>
                    <a:lnTo>
                      <a:pt x="0" y="65"/>
                    </a:lnTo>
                    <a:lnTo>
                      <a:pt x="0" y="65"/>
                    </a:lnTo>
                    <a:cubicBezTo>
                      <a:pt x="235" y="34"/>
                      <a:pt x="472" y="16"/>
                      <a:pt x="709" y="8"/>
                    </a:cubicBezTo>
                    <a:lnTo>
                      <a:pt x="709" y="8"/>
                    </a:lnTo>
                    <a:cubicBezTo>
                      <a:pt x="947" y="0"/>
                      <a:pt x="1184" y="0"/>
                      <a:pt x="1421" y="14"/>
                    </a:cubicBezTo>
                    <a:lnTo>
                      <a:pt x="1421" y="14"/>
                    </a:lnTo>
                    <a:cubicBezTo>
                      <a:pt x="1894" y="39"/>
                      <a:pt x="2364" y="106"/>
                      <a:pt x="2824" y="210"/>
                    </a:cubicBezTo>
                    <a:lnTo>
                      <a:pt x="2545" y="1439"/>
                    </a:lnTo>
                  </a:path>
                </a:pathLst>
              </a:custGeom>
              <a:solidFill>
                <a:schemeClr val="accent2"/>
              </a:solidFill>
              <a:ln>
                <a:noFill/>
              </a:ln>
              <a:effectLst/>
            </p:spPr>
            <p:txBody>
              <a:bodyPr wrap="none" anchor="ctr"/>
              <a:lstStyle/>
              <a:p>
                <a:endParaRPr lang="en-US" sz="6532" dirty="0">
                  <a:latin typeface="Open Sans Light" panose="020B0306030504020204" pitchFamily="34" charset="0"/>
                </a:endParaRPr>
              </a:p>
            </p:txBody>
          </p:sp>
          <p:sp>
            <p:nvSpPr>
              <p:cNvPr id="10" name="Freeform 5">
                <a:extLst>
                  <a:ext uri="{FF2B5EF4-FFF2-40B4-BE49-F238E27FC236}">
                    <a16:creationId xmlns:a16="http://schemas.microsoft.com/office/drawing/2014/main" id="{0B5F7EB0-DEEB-225B-B00C-A7E874E99C06}"/>
                  </a:ext>
                </a:extLst>
              </p:cNvPr>
              <p:cNvSpPr>
                <a:spLocks noChangeArrowheads="1"/>
              </p:cNvSpPr>
              <p:nvPr/>
            </p:nvSpPr>
            <p:spPr bwMode="auto">
              <a:xfrm>
                <a:off x="8878058" y="4069241"/>
                <a:ext cx="3498379" cy="2571363"/>
              </a:xfrm>
              <a:custGeom>
                <a:avLst/>
                <a:gdLst>
                  <a:gd name="T0" fmla="*/ 2451 w 2794"/>
                  <a:gd name="T1" fmla="*/ 2052 h 2053"/>
                  <a:gd name="T2" fmla="*/ 2451 w 2794"/>
                  <a:gd name="T3" fmla="*/ 2052 h 2053"/>
                  <a:gd name="T4" fmla="*/ 2281 w 2794"/>
                  <a:gd name="T5" fmla="*/ 2001 h 2053"/>
                  <a:gd name="T6" fmla="*/ 2281 w 2794"/>
                  <a:gd name="T7" fmla="*/ 2001 h 2053"/>
                  <a:gd name="T8" fmla="*/ 2113 w 2794"/>
                  <a:gd name="T9" fmla="*/ 1949 h 2053"/>
                  <a:gd name="T10" fmla="*/ 2113 w 2794"/>
                  <a:gd name="T11" fmla="*/ 1949 h 2053"/>
                  <a:gd name="T12" fmla="*/ 1780 w 2794"/>
                  <a:gd name="T13" fmla="*/ 1833 h 2053"/>
                  <a:gd name="T14" fmla="*/ 1617 w 2794"/>
                  <a:gd name="T15" fmla="*/ 1771 h 2053"/>
                  <a:gd name="T16" fmla="*/ 1455 w 2794"/>
                  <a:gd name="T17" fmla="*/ 1706 h 2053"/>
                  <a:gd name="T18" fmla="*/ 1161 w 2794"/>
                  <a:gd name="T19" fmla="*/ 1587 h 2053"/>
                  <a:gd name="T20" fmla="*/ 1161 w 2794"/>
                  <a:gd name="T21" fmla="*/ 1587 h 2053"/>
                  <a:gd name="T22" fmla="*/ 586 w 2794"/>
                  <a:gd name="T23" fmla="*/ 1386 h 2053"/>
                  <a:gd name="T24" fmla="*/ 586 w 2794"/>
                  <a:gd name="T25" fmla="*/ 1386 h 2053"/>
                  <a:gd name="T26" fmla="*/ 294 w 2794"/>
                  <a:gd name="T27" fmla="*/ 1301 h 2053"/>
                  <a:gd name="T28" fmla="*/ 294 w 2794"/>
                  <a:gd name="T29" fmla="*/ 1301 h 2053"/>
                  <a:gd name="T30" fmla="*/ 148 w 2794"/>
                  <a:gd name="T31" fmla="*/ 1264 h 2053"/>
                  <a:gd name="T32" fmla="*/ 148 w 2794"/>
                  <a:gd name="T33" fmla="*/ 1264 h 2053"/>
                  <a:gd name="T34" fmla="*/ 0 w 2794"/>
                  <a:gd name="T35" fmla="*/ 1229 h 2053"/>
                  <a:gd name="T36" fmla="*/ 277 w 2794"/>
                  <a:gd name="T37" fmla="*/ 0 h 2053"/>
                  <a:gd name="T38" fmla="*/ 277 w 2794"/>
                  <a:gd name="T39" fmla="*/ 0 h 2053"/>
                  <a:gd name="T40" fmla="*/ 449 w 2794"/>
                  <a:gd name="T41" fmla="*/ 41 h 2053"/>
                  <a:gd name="T42" fmla="*/ 449 w 2794"/>
                  <a:gd name="T43" fmla="*/ 41 h 2053"/>
                  <a:gd name="T44" fmla="*/ 620 w 2794"/>
                  <a:gd name="T45" fmla="*/ 84 h 2053"/>
                  <a:gd name="T46" fmla="*/ 620 w 2794"/>
                  <a:gd name="T47" fmla="*/ 84 h 2053"/>
                  <a:gd name="T48" fmla="*/ 959 w 2794"/>
                  <a:gd name="T49" fmla="*/ 182 h 2053"/>
                  <a:gd name="T50" fmla="*/ 959 w 2794"/>
                  <a:gd name="T51" fmla="*/ 182 h 2053"/>
                  <a:gd name="T52" fmla="*/ 1619 w 2794"/>
                  <a:gd name="T53" fmla="*/ 414 h 2053"/>
                  <a:gd name="T54" fmla="*/ 1933 w 2794"/>
                  <a:gd name="T55" fmla="*/ 541 h 2053"/>
                  <a:gd name="T56" fmla="*/ 2074 w 2794"/>
                  <a:gd name="T57" fmla="*/ 599 h 2053"/>
                  <a:gd name="T58" fmla="*/ 2217 w 2794"/>
                  <a:gd name="T59" fmla="*/ 652 h 2053"/>
                  <a:gd name="T60" fmla="*/ 2217 w 2794"/>
                  <a:gd name="T61" fmla="*/ 652 h 2053"/>
                  <a:gd name="T62" fmla="*/ 2504 w 2794"/>
                  <a:gd name="T63" fmla="*/ 753 h 2053"/>
                  <a:gd name="T64" fmla="*/ 2504 w 2794"/>
                  <a:gd name="T65" fmla="*/ 753 h 2053"/>
                  <a:gd name="T66" fmla="*/ 2648 w 2794"/>
                  <a:gd name="T67" fmla="*/ 798 h 2053"/>
                  <a:gd name="T68" fmla="*/ 2648 w 2794"/>
                  <a:gd name="T69" fmla="*/ 798 h 2053"/>
                  <a:gd name="T70" fmla="*/ 2793 w 2794"/>
                  <a:gd name="T71" fmla="*/ 840 h 2053"/>
                  <a:gd name="T72" fmla="*/ 2451 w 2794"/>
                  <a:gd name="T73" fmla="*/ 2052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94" h="2053">
                    <a:moveTo>
                      <a:pt x="2451" y="2052"/>
                    </a:moveTo>
                    <a:lnTo>
                      <a:pt x="2451" y="2052"/>
                    </a:lnTo>
                    <a:cubicBezTo>
                      <a:pt x="2394" y="2037"/>
                      <a:pt x="2337" y="2019"/>
                      <a:pt x="2281" y="2001"/>
                    </a:cubicBezTo>
                    <a:lnTo>
                      <a:pt x="2281" y="2001"/>
                    </a:lnTo>
                    <a:cubicBezTo>
                      <a:pt x="2225" y="1984"/>
                      <a:pt x="2169" y="1968"/>
                      <a:pt x="2113" y="1949"/>
                    </a:cubicBezTo>
                    <a:lnTo>
                      <a:pt x="2113" y="1949"/>
                    </a:lnTo>
                    <a:cubicBezTo>
                      <a:pt x="2002" y="1911"/>
                      <a:pt x="1890" y="1875"/>
                      <a:pt x="1780" y="1833"/>
                    </a:cubicBezTo>
                    <a:lnTo>
                      <a:pt x="1617" y="1771"/>
                    </a:lnTo>
                    <a:lnTo>
                      <a:pt x="1455" y="1706"/>
                    </a:lnTo>
                    <a:lnTo>
                      <a:pt x="1161" y="1587"/>
                    </a:lnTo>
                    <a:lnTo>
                      <a:pt x="1161" y="1587"/>
                    </a:lnTo>
                    <a:cubicBezTo>
                      <a:pt x="971" y="1514"/>
                      <a:pt x="780" y="1444"/>
                      <a:pt x="586" y="1386"/>
                    </a:cubicBezTo>
                    <a:lnTo>
                      <a:pt x="586" y="1386"/>
                    </a:lnTo>
                    <a:cubicBezTo>
                      <a:pt x="489" y="1354"/>
                      <a:pt x="392" y="1329"/>
                      <a:pt x="294" y="1301"/>
                    </a:cubicBezTo>
                    <a:lnTo>
                      <a:pt x="294" y="1301"/>
                    </a:lnTo>
                    <a:cubicBezTo>
                      <a:pt x="245" y="1288"/>
                      <a:pt x="196" y="1276"/>
                      <a:pt x="148" y="1264"/>
                    </a:cubicBezTo>
                    <a:lnTo>
                      <a:pt x="148" y="1264"/>
                    </a:lnTo>
                    <a:cubicBezTo>
                      <a:pt x="99" y="1251"/>
                      <a:pt x="49" y="1239"/>
                      <a:pt x="0" y="1229"/>
                    </a:cubicBezTo>
                    <a:lnTo>
                      <a:pt x="277" y="0"/>
                    </a:lnTo>
                    <a:lnTo>
                      <a:pt x="277" y="0"/>
                    </a:lnTo>
                    <a:cubicBezTo>
                      <a:pt x="335" y="12"/>
                      <a:pt x="392" y="26"/>
                      <a:pt x="449" y="41"/>
                    </a:cubicBezTo>
                    <a:lnTo>
                      <a:pt x="449" y="41"/>
                    </a:lnTo>
                    <a:cubicBezTo>
                      <a:pt x="506" y="55"/>
                      <a:pt x="564" y="68"/>
                      <a:pt x="620" y="84"/>
                    </a:cubicBezTo>
                    <a:lnTo>
                      <a:pt x="620" y="84"/>
                    </a:lnTo>
                    <a:cubicBezTo>
                      <a:pt x="733" y="116"/>
                      <a:pt x="847" y="146"/>
                      <a:pt x="959" y="182"/>
                    </a:cubicBezTo>
                    <a:lnTo>
                      <a:pt x="959" y="182"/>
                    </a:lnTo>
                    <a:cubicBezTo>
                      <a:pt x="1183" y="250"/>
                      <a:pt x="1403" y="330"/>
                      <a:pt x="1619" y="414"/>
                    </a:cubicBezTo>
                    <a:lnTo>
                      <a:pt x="1933" y="541"/>
                    </a:lnTo>
                    <a:lnTo>
                      <a:pt x="2074" y="599"/>
                    </a:lnTo>
                    <a:lnTo>
                      <a:pt x="2217" y="652"/>
                    </a:lnTo>
                    <a:lnTo>
                      <a:pt x="2217" y="652"/>
                    </a:lnTo>
                    <a:cubicBezTo>
                      <a:pt x="2313" y="689"/>
                      <a:pt x="2409" y="719"/>
                      <a:pt x="2504" y="753"/>
                    </a:cubicBezTo>
                    <a:lnTo>
                      <a:pt x="2504" y="753"/>
                    </a:lnTo>
                    <a:cubicBezTo>
                      <a:pt x="2552" y="768"/>
                      <a:pt x="2600" y="783"/>
                      <a:pt x="2648" y="798"/>
                    </a:cubicBezTo>
                    <a:lnTo>
                      <a:pt x="2648" y="798"/>
                    </a:lnTo>
                    <a:cubicBezTo>
                      <a:pt x="2697" y="813"/>
                      <a:pt x="2745" y="828"/>
                      <a:pt x="2793" y="840"/>
                    </a:cubicBezTo>
                    <a:lnTo>
                      <a:pt x="2451" y="2052"/>
                    </a:lnTo>
                  </a:path>
                </a:pathLst>
              </a:custGeom>
              <a:solidFill>
                <a:schemeClr val="accent3"/>
              </a:solidFill>
              <a:ln>
                <a:noFill/>
              </a:ln>
              <a:effectLst/>
            </p:spPr>
            <p:txBody>
              <a:bodyPr wrap="none" anchor="ctr"/>
              <a:lstStyle/>
              <a:p>
                <a:endParaRPr lang="en-US" sz="6532" dirty="0">
                  <a:latin typeface="Open Sans Light" panose="020B0306030504020204" pitchFamily="34" charset="0"/>
                </a:endParaRPr>
              </a:p>
            </p:txBody>
          </p:sp>
          <p:sp>
            <p:nvSpPr>
              <p:cNvPr id="11" name="Freeform 6">
                <a:extLst>
                  <a:ext uri="{FF2B5EF4-FFF2-40B4-BE49-F238E27FC236}">
                    <a16:creationId xmlns:a16="http://schemas.microsoft.com/office/drawing/2014/main" id="{9AD9DF47-CD86-247C-A168-7C922E42246F}"/>
                  </a:ext>
                </a:extLst>
              </p:cNvPr>
              <p:cNvSpPr>
                <a:spLocks noChangeArrowheads="1"/>
              </p:cNvSpPr>
              <p:nvPr/>
            </p:nvSpPr>
            <p:spPr bwMode="auto">
              <a:xfrm>
                <a:off x="11940520" y="5117650"/>
                <a:ext cx="3559074" cy="1903689"/>
              </a:xfrm>
              <a:custGeom>
                <a:avLst/>
                <a:gdLst>
                  <a:gd name="T0" fmla="*/ 2843 w 2844"/>
                  <a:gd name="T1" fmla="*/ 1458 h 1521"/>
                  <a:gd name="T2" fmla="*/ 2843 w 2844"/>
                  <a:gd name="T3" fmla="*/ 1458 h 1521"/>
                  <a:gd name="T4" fmla="*/ 1400 w 2844"/>
                  <a:gd name="T5" fmla="*/ 1476 h 1521"/>
                  <a:gd name="T6" fmla="*/ 1400 w 2844"/>
                  <a:gd name="T7" fmla="*/ 1476 h 1521"/>
                  <a:gd name="T8" fmla="*/ 691 w 2844"/>
                  <a:gd name="T9" fmla="*/ 1376 h 1521"/>
                  <a:gd name="T10" fmla="*/ 691 w 2844"/>
                  <a:gd name="T11" fmla="*/ 1376 h 1521"/>
                  <a:gd name="T12" fmla="*/ 516 w 2844"/>
                  <a:gd name="T13" fmla="*/ 1340 h 1521"/>
                  <a:gd name="T14" fmla="*/ 429 w 2844"/>
                  <a:gd name="T15" fmla="*/ 1321 h 1521"/>
                  <a:gd name="T16" fmla="*/ 343 w 2844"/>
                  <a:gd name="T17" fmla="*/ 1301 h 1521"/>
                  <a:gd name="T18" fmla="*/ 171 w 2844"/>
                  <a:gd name="T19" fmla="*/ 1258 h 1521"/>
                  <a:gd name="T20" fmla="*/ 0 w 2844"/>
                  <a:gd name="T21" fmla="*/ 1211 h 1521"/>
                  <a:gd name="T22" fmla="*/ 343 w 2844"/>
                  <a:gd name="T23" fmla="*/ 0 h 1521"/>
                  <a:gd name="T24" fmla="*/ 489 w 2844"/>
                  <a:gd name="T25" fmla="*/ 40 h 1521"/>
                  <a:gd name="T26" fmla="*/ 634 w 2844"/>
                  <a:gd name="T27" fmla="*/ 76 h 1521"/>
                  <a:gd name="T28" fmla="*/ 707 w 2844"/>
                  <a:gd name="T29" fmla="*/ 93 h 1521"/>
                  <a:gd name="T30" fmla="*/ 781 w 2844"/>
                  <a:gd name="T31" fmla="*/ 109 h 1521"/>
                  <a:gd name="T32" fmla="*/ 781 w 2844"/>
                  <a:gd name="T33" fmla="*/ 109 h 1521"/>
                  <a:gd name="T34" fmla="*/ 927 w 2844"/>
                  <a:gd name="T35" fmla="*/ 139 h 1521"/>
                  <a:gd name="T36" fmla="*/ 927 w 2844"/>
                  <a:gd name="T37" fmla="*/ 139 h 1521"/>
                  <a:gd name="T38" fmla="*/ 1516 w 2844"/>
                  <a:gd name="T39" fmla="*/ 222 h 1521"/>
                  <a:gd name="T40" fmla="*/ 1516 w 2844"/>
                  <a:gd name="T41" fmla="*/ 222 h 1521"/>
                  <a:gd name="T42" fmla="*/ 2691 w 2844"/>
                  <a:gd name="T43" fmla="*/ 209 h 1521"/>
                  <a:gd name="T44" fmla="*/ 2843 w 2844"/>
                  <a:gd name="T45" fmla="*/ 1458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4" h="1521">
                    <a:moveTo>
                      <a:pt x="2843" y="1458"/>
                    </a:moveTo>
                    <a:lnTo>
                      <a:pt x="2843" y="1458"/>
                    </a:lnTo>
                    <a:cubicBezTo>
                      <a:pt x="2362" y="1516"/>
                      <a:pt x="1877" y="1520"/>
                      <a:pt x="1400" y="1476"/>
                    </a:cubicBezTo>
                    <a:lnTo>
                      <a:pt x="1400" y="1476"/>
                    </a:lnTo>
                    <a:cubicBezTo>
                      <a:pt x="1162" y="1453"/>
                      <a:pt x="925" y="1420"/>
                      <a:pt x="691" y="1376"/>
                    </a:cubicBezTo>
                    <a:lnTo>
                      <a:pt x="691" y="1376"/>
                    </a:lnTo>
                    <a:cubicBezTo>
                      <a:pt x="633" y="1365"/>
                      <a:pt x="575" y="1352"/>
                      <a:pt x="516" y="1340"/>
                    </a:cubicBezTo>
                    <a:lnTo>
                      <a:pt x="429" y="1321"/>
                    </a:lnTo>
                    <a:lnTo>
                      <a:pt x="343" y="1301"/>
                    </a:lnTo>
                    <a:lnTo>
                      <a:pt x="171" y="1258"/>
                    </a:lnTo>
                    <a:lnTo>
                      <a:pt x="0" y="1211"/>
                    </a:lnTo>
                    <a:lnTo>
                      <a:pt x="343" y="0"/>
                    </a:lnTo>
                    <a:lnTo>
                      <a:pt x="489" y="40"/>
                    </a:lnTo>
                    <a:lnTo>
                      <a:pt x="634" y="76"/>
                    </a:lnTo>
                    <a:lnTo>
                      <a:pt x="707" y="93"/>
                    </a:lnTo>
                    <a:lnTo>
                      <a:pt x="781" y="109"/>
                    </a:lnTo>
                    <a:lnTo>
                      <a:pt x="781" y="109"/>
                    </a:lnTo>
                    <a:cubicBezTo>
                      <a:pt x="830" y="119"/>
                      <a:pt x="878" y="130"/>
                      <a:pt x="927" y="139"/>
                    </a:cubicBezTo>
                    <a:lnTo>
                      <a:pt x="927" y="139"/>
                    </a:lnTo>
                    <a:cubicBezTo>
                      <a:pt x="1123" y="177"/>
                      <a:pt x="1319" y="203"/>
                      <a:pt x="1516" y="222"/>
                    </a:cubicBezTo>
                    <a:lnTo>
                      <a:pt x="1516" y="222"/>
                    </a:lnTo>
                    <a:cubicBezTo>
                      <a:pt x="1909" y="259"/>
                      <a:pt x="2303" y="255"/>
                      <a:pt x="2691" y="209"/>
                    </a:cubicBezTo>
                    <a:lnTo>
                      <a:pt x="2843" y="1458"/>
                    </a:lnTo>
                  </a:path>
                </a:pathLst>
              </a:custGeom>
              <a:solidFill>
                <a:schemeClr val="accent4"/>
              </a:solidFill>
              <a:ln>
                <a:noFill/>
              </a:ln>
              <a:effectLst/>
            </p:spPr>
            <p:txBody>
              <a:bodyPr wrap="none" anchor="ctr"/>
              <a:lstStyle/>
              <a:p>
                <a:endParaRPr lang="en-US" sz="6532" dirty="0">
                  <a:latin typeface="Open Sans Light" panose="020B0306030504020204" pitchFamily="34" charset="0"/>
                </a:endParaRPr>
              </a:p>
            </p:txBody>
          </p:sp>
          <p:sp>
            <p:nvSpPr>
              <p:cNvPr id="12" name="Freeform 7">
                <a:extLst>
                  <a:ext uri="{FF2B5EF4-FFF2-40B4-BE49-F238E27FC236}">
                    <a16:creationId xmlns:a16="http://schemas.microsoft.com/office/drawing/2014/main" id="{B0C1A739-0260-F89E-5E9F-A6384F9589DD}"/>
                  </a:ext>
                </a:extLst>
              </p:cNvPr>
              <p:cNvSpPr>
                <a:spLocks noChangeArrowheads="1"/>
              </p:cNvSpPr>
              <p:nvPr/>
            </p:nvSpPr>
            <p:spPr bwMode="auto">
              <a:xfrm>
                <a:off x="15300946" y="4405833"/>
                <a:ext cx="3581150" cy="2543775"/>
              </a:xfrm>
              <a:custGeom>
                <a:avLst/>
                <a:gdLst>
                  <a:gd name="T0" fmla="*/ 2859 w 2860"/>
                  <a:gd name="T1" fmla="*/ 1070 h 2031"/>
                  <a:gd name="T2" fmla="*/ 2859 w 2860"/>
                  <a:gd name="T3" fmla="*/ 1070 h 2031"/>
                  <a:gd name="T4" fmla="*/ 1561 w 2860"/>
                  <a:gd name="T5" fmla="*/ 1696 h 2031"/>
                  <a:gd name="T6" fmla="*/ 1561 w 2860"/>
                  <a:gd name="T7" fmla="*/ 1696 h 2031"/>
                  <a:gd name="T8" fmla="*/ 151 w 2860"/>
                  <a:gd name="T9" fmla="*/ 2030 h 2031"/>
                  <a:gd name="T10" fmla="*/ 0 w 2860"/>
                  <a:gd name="T11" fmla="*/ 780 h 2031"/>
                  <a:gd name="T12" fmla="*/ 0 w 2860"/>
                  <a:gd name="T13" fmla="*/ 780 h 2031"/>
                  <a:gd name="T14" fmla="*/ 1137 w 2860"/>
                  <a:gd name="T15" fmla="*/ 511 h 2031"/>
                  <a:gd name="T16" fmla="*/ 1137 w 2860"/>
                  <a:gd name="T17" fmla="*/ 511 h 2031"/>
                  <a:gd name="T18" fmla="*/ 2196 w 2860"/>
                  <a:gd name="T19" fmla="*/ 0 h 2031"/>
                  <a:gd name="T20" fmla="*/ 2859 w 2860"/>
                  <a:gd name="T21" fmla="*/ 1070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0" h="2031">
                    <a:moveTo>
                      <a:pt x="2859" y="1070"/>
                    </a:moveTo>
                    <a:lnTo>
                      <a:pt x="2859" y="1070"/>
                    </a:lnTo>
                    <a:cubicBezTo>
                      <a:pt x="2451" y="1323"/>
                      <a:pt x="2016" y="1534"/>
                      <a:pt x="1561" y="1696"/>
                    </a:cubicBezTo>
                    <a:lnTo>
                      <a:pt x="1561" y="1696"/>
                    </a:lnTo>
                    <a:cubicBezTo>
                      <a:pt x="1106" y="1860"/>
                      <a:pt x="631" y="1971"/>
                      <a:pt x="151" y="2030"/>
                    </a:cubicBezTo>
                    <a:lnTo>
                      <a:pt x="0" y="780"/>
                    </a:lnTo>
                    <a:lnTo>
                      <a:pt x="0" y="780"/>
                    </a:lnTo>
                    <a:cubicBezTo>
                      <a:pt x="388" y="732"/>
                      <a:pt x="769" y="642"/>
                      <a:pt x="1137" y="511"/>
                    </a:cubicBezTo>
                    <a:lnTo>
                      <a:pt x="1137" y="511"/>
                    </a:lnTo>
                    <a:cubicBezTo>
                      <a:pt x="1505" y="380"/>
                      <a:pt x="1860" y="207"/>
                      <a:pt x="2196" y="0"/>
                    </a:cubicBezTo>
                    <a:lnTo>
                      <a:pt x="2859" y="1070"/>
                    </a:lnTo>
                  </a:path>
                </a:pathLst>
              </a:custGeom>
              <a:solidFill>
                <a:schemeClr val="accent5"/>
              </a:solidFill>
              <a:ln>
                <a:noFill/>
              </a:ln>
              <a:effectLst/>
            </p:spPr>
            <p:txBody>
              <a:bodyPr wrap="none" anchor="ctr"/>
              <a:lstStyle/>
              <a:p>
                <a:endParaRPr lang="en-US" sz="6532" dirty="0">
                  <a:latin typeface="Open Sans Light" panose="020B0306030504020204" pitchFamily="34" charset="0"/>
                </a:endParaRPr>
              </a:p>
            </p:txBody>
          </p:sp>
          <p:sp>
            <p:nvSpPr>
              <p:cNvPr id="13" name="Freeform 8">
                <a:extLst>
                  <a:ext uri="{FF2B5EF4-FFF2-40B4-BE49-F238E27FC236}">
                    <a16:creationId xmlns:a16="http://schemas.microsoft.com/office/drawing/2014/main" id="{24C5087A-8A0E-FE60-A612-94D6D99C1623}"/>
                  </a:ext>
                </a:extLst>
              </p:cNvPr>
              <p:cNvSpPr>
                <a:spLocks noChangeArrowheads="1"/>
              </p:cNvSpPr>
              <p:nvPr/>
            </p:nvSpPr>
            <p:spPr bwMode="auto">
              <a:xfrm>
                <a:off x="18043367" y="2430409"/>
                <a:ext cx="3465271" cy="3321804"/>
              </a:xfrm>
              <a:custGeom>
                <a:avLst/>
                <a:gdLst>
                  <a:gd name="T0" fmla="*/ 2768 w 2769"/>
                  <a:gd name="T1" fmla="*/ 690 h 2655"/>
                  <a:gd name="T2" fmla="*/ 2735 w 2769"/>
                  <a:gd name="T3" fmla="*/ 739 h 2655"/>
                  <a:gd name="T4" fmla="*/ 2706 w 2769"/>
                  <a:gd name="T5" fmla="*/ 780 h 2655"/>
                  <a:gd name="T6" fmla="*/ 2706 w 2769"/>
                  <a:gd name="T7" fmla="*/ 780 h 2655"/>
                  <a:gd name="T8" fmla="*/ 2649 w 2769"/>
                  <a:gd name="T9" fmla="*/ 856 h 2655"/>
                  <a:gd name="T10" fmla="*/ 2649 w 2769"/>
                  <a:gd name="T11" fmla="*/ 856 h 2655"/>
                  <a:gd name="T12" fmla="*/ 2536 w 2769"/>
                  <a:gd name="T13" fmla="*/ 1002 h 2655"/>
                  <a:gd name="T14" fmla="*/ 2536 w 2769"/>
                  <a:gd name="T15" fmla="*/ 1002 h 2655"/>
                  <a:gd name="T16" fmla="*/ 2302 w 2769"/>
                  <a:gd name="T17" fmla="*/ 1278 h 2655"/>
                  <a:gd name="T18" fmla="*/ 2302 w 2769"/>
                  <a:gd name="T19" fmla="*/ 1278 h 2655"/>
                  <a:gd name="T20" fmla="*/ 1800 w 2769"/>
                  <a:gd name="T21" fmla="*/ 1787 h 2655"/>
                  <a:gd name="T22" fmla="*/ 1800 w 2769"/>
                  <a:gd name="T23" fmla="*/ 1787 h 2655"/>
                  <a:gd name="T24" fmla="*/ 663 w 2769"/>
                  <a:gd name="T25" fmla="*/ 2654 h 2655"/>
                  <a:gd name="T26" fmla="*/ 0 w 2769"/>
                  <a:gd name="T27" fmla="*/ 1582 h 2655"/>
                  <a:gd name="T28" fmla="*/ 0 w 2769"/>
                  <a:gd name="T29" fmla="*/ 1582 h 2655"/>
                  <a:gd name="T30" fmla="*/ 946 w 2769"/>
                  <a:gd name="T31" fmla="*/ 862 h 2655"/>
                  <a:gd name="T32" fmla="*/ 946 w 2769"/>
                  <a:gd name="T33" fmla="*/ 862 h 2655"/>
                  <a:gd name="T34" fmla="*/ 1363 w 2769"/>
                  <a:gd name="T35" fmla="*/ 437 h 2655"/>
                  <a:gd name="T36" fmla="*/ 1363 w 2769"/>
                  <a:gd name="T37" fmla="*/ 437 h 2655"/>
                  <a:gd name="T38" fmla="*/ 1554 w 2769"/>
                  <a:gd name="T39" fmla="*/ 213 h 2655"/>
                  <a:gd name="T40" fmla="*/ 1554 w 2769"/>
                  <a:gd name="T41" fmla="*/ 213 h 2655"/>
                  <a:gd name="T42" fmla="*/ 1642 w 2769"/>
                  <a:gd name="T43" fmla="*/ 100 h 2655"/>
                  <a:gd name="T44" fmla="*/ 1683 w 2769"/>
                  <a:gd name="T45" fmla="*/ 44 h 2655"/>
                  <a:gd name="T46" fmla="*/ 1714 w 2769"/>
                  <a:gd name="T47" fmla="*/ 0 h 2655"/>
                  <a:gd name="T48" fmla="*/ 2768 w 2769"/>
                  <a:gd name="T49" fmla="*/ 690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9" h="2655">
                    <a:moveTo>
                      <a:pt x="2768" y="690"/>
                    </a:moveTo>
                    <a:lnTo>
                      <a:pt x="2735" y="739"/>
                    </a:lnTo>
                    <a:lnTo>
                      <a:pt x="2706" y="780"/>
                    </a:lnTo>
                    <a:lnTo>
                      <a:pt x="2706" y="780"/>
                    </a:lnTo>
                    <a:cubicBezTo>
                      <a:pt x="2687" y="806"/>
                      <a:pt x="2668" y="831"/>
                      <a:pt x="2649" y="856"/>
                    </a:cubicBezTo>
                    <a:lnTo>
                      <a:pt x="2649" y="856"/>
                    </a:lnTo>
                    <a:cubicBezTo>
                      <a:pt x="2612" y="906"/>
                      <a:pt x="2574" y="954"/>
                      <a:pt x="2536" y="1002"/>
                    </a:cubicBezTo>
                    <a:lnTo>
                      <a:pt x="2536" y="1002"/>
                    </a:lnTo>
                    <a:cubicBezTo>
                      <a:pt x="2461" y="1097"/>
                      <a:pt x="2382" y="1188"/>
                      <a:pt x="2302" y="1278"/>
                    </a:cubicBezTo>
                    <a:lnTo>
                      <a:pt x="2302" y="1278"/>
                    </a:lnTo>
                    <a:cubicBezTo>
                      <a:pt x="2143" y="1456"/>
                      <a:pt x="1975" y="1625"/>
                      <a:pt x="1800" y="1787"/>
                    </a:cubicBezTo>
                    <a:lnTo>
                      <a:pt x="1800" y="1787"/>
                    </a:lnTo>
                    <a:cubicBezTo>
                      <a:pt x="1451" y="2110"/>
                      <a:pt x="1070" y="2401"/>
                      <a:pt x="663" y="2654"/>
                    </a:cubicBezTo>
                    <a:lnTo>
                      <a:pt x="0" y="1582"/>
                    </a:lnTo>
                    <a:lnTo>
                      <a:pt x="0" y="1582"/>
                    </a:lnTo>
                    <a:cubicBezTo>
                      <a:pt x="336" y="1374"/>
                      <a:pt x="653" y="1132"/>
                      <a:pt x="946" y="862"/>
                    </a:cubicBezTo>
                    <a:lnTo>
                      <a:pt x="946" y="862"/>
                    </a:lnTo>
                    <a:cubicBezTo>
                      <a:pt x="1091" y="727"/>
                      <a:pt x="1232" y="585"/>
                      <a:pt x="1363" y="437"/>
                    </a:cubicBezTo>
                    <a:lnTo>
                      <a:pt x="1363" y="437"/>
                    </a:lnTo>
                    <a:cubicBezTo>
                      <a:pt x="1429" y="364"/>
                      <a:pt x="1493" y="288"/>
                      <a:pt x="1554" y="213"/>
                    </a:cubicBezTo>
                    <a:lnTo>
                      <a:pt x="1554" y="213"/>
                    </a:lnTo>
                    <a:cubicBezTo>
                      <a:pt x="1584" y="175"/>
                      <a:pt x="1614" y="138"/>
                      <a:pt x="1642" y="100"/>
                    </a:cubicBezTo>
                    <a:lnTo>
                      <a:pt x="1683" y="44"/>
                    </a:lnTo>
                    <a:lnTo>
                      <a:pt x="1714" y="0"/>
                    </a:lnTo>
                    <a:lnTo>
                      <a:pt x="2768" y="690"/>
                    </a:lnTo>
                  </a:path>
                </a:pathLst>
              </a:custGeom>
              <a:solidFill>
                <a:schemeClr val="accent6"/>
              </a:solidFill>
              <a:ln>
                <a:noFill/>
              </a:ln>
              <a:effectLst/>
            </p:spPr>
            <p:txBody>
              <a:bodyPr wrap="none" anchor="ctr"/>
              <a:lstStyle/>
              <a:p>
                <a:endParaRPr lang="en-US" sz="6532" dirty="0">
                  <a:latin typeface="Open Sans Light" panose="020B0306030504020204" pitchFamily="34" charset="0"/>
                </a:endParaRPr>
              </a:p>
            </p:txBody>
          </p:sp>
          <p:sp>
            <p:nvSpPr>
              <p:cNvPr id="14" name="Freeform 9">
                <a:extLst>
                  <a:ext uri="{FF2B5EF4-FFF2-40B4-BE49-F238E27FC236}">
                    <a16:creationId xmlns:a16="http://schemas.microsoft.com/office/drawing/2014/main" id="{A086DAB2-7320-783E-9537-55C17A27F3EB}"/>
                  </a:ext>
                </a:extLst>
              </p:cNvPr>
              <p:cNvSpPr>
                <a:spLocks noChangeArrowheads="1"/>
              </p:cNvSpPr>
              <p:nvPr/>
            </p:nvSpPr>
            <p:spPr bwMode="auto">
              <a:xfrm>
                <a:off x="19411822" y="1718594"/>
                <a:ext cx="2632059" cy="2179588"/>
              </a:xfrm>
              <a:custGeom>
                <a:avLst/>
                <a:gdLst>
                  <a:gd name="T0" fmla="*/ 0 w 2105"/>
                  <a:gd name="T1" fmla="*/ 364 h 1741"/>
                  <a:gd name="T2" fmla="*/ 2104 w 2105"/>
                  <a:gd name="T3" fmla="*/ 1740 h 1741"/>
                  <a:gd name="T4" fmla="*/ 1740 w 2105"/>
                  <a:gd name="T5" fmla="*/ 0 h 1741"/>
                  <a:gd name="T6" fmla="*/ 0 w 2105"/>
                  <a:gd name="T7" fmla="*/ 364 h 1741"/>
                </a:gdLst>
                <a:ahLst/>
                <a:cxnLst>
                  <a:cxn ang="0">
                    <a:pos x="T0" y="T1"/>
                  </a:cxn>
                  <a:cxn ang="0">
                    <a:pos x="T2" y="T3"/>
                  </a:cxn>
                  <a:cxn ang="0">
                    <a:pos x="T4" y="T5"/>
                  </a:cxn>
                  <a:cxn ang="0">
                    <a:pos x="T6" y="T7"/>
                  </a:cxn>
                </a:cxnLst>
                <a:rect l="0" t="0" r="r" b="b"/>
                <a:pathLst>
                  <a:path w="2105" h="1741">
                    <a:moveTo>
                      <a:pt x="0" y="364"/>
                    </a:moveTo>
                    <a:lnTo>
                      <a:pt x="2104" y="1740"/>
                    </a:lnTo>
                    <a:lnTo>
                      <a:pt x="1740" y="0"/>
                    </a:lnTo>
                    <a:lnTo>
                      <a:pt x="0" y="364"/>
                    </a:lnTo>
                  </a:path>
                </a:pathLst>
              </a:custGeom>
              <a:solidFill>
                <a:schemeClr val="accent6">
                  <a:lumMod val="90000"/>
                </a:schemeClr>
              </a:solidFill>
              <a:ln>
                <a:noFill/>
              </a:ln>
              <a:effectLst/>
            </p:spPr>
            <p:txBody>
              <a:bodyPr wrap="none" anchor="ctr"/>
              <a:lstStyle/>
              <a:p>
                <a:endParaRPr lang="en-US" sz="6532" dirty="0">
                  <a:latin typeface="Open Sans Light" panose="020B0306030504020204" pitchFamily="34" charset="0"/>
                </a:endParaRPr>
              </a:p>
            </p:txBody>
          </p:sp>
          <p:grpSp>
            <p:nvGrpSpPr>
              <p:cNvPr id="15" name="Group 14">
                <a:extLst>
                  <a:ext uri="{FF2B5EF4-FFF2-40B4-BE49-F238E27FC236}">
                    <a16:creationId xmlns:a16="http://schemas.microsoft.com/office/drawing/2014/main" id="{6C30183F-EEB6-89AE-08CA-06D42A3AAB13}"/>
                  </a:ext>
                </a:extLst>
              </p:cNvPr>
              <p:cNvGrpSpPr/>
              <p:nvPr/>
            </p:nvGrpSpPr>
            <p:grpSpPr>
              <a:xfrm>
                <a:off x="4452663" y="5001771"/>
                <a:ext cx="314525" cy="1793332"/>
                <a:chOff x="4452663" y="5001771"/>
                <a:chExt cx="314525" cy="1793332"/>
              </a:xfrm>
            </p:grpSpPr>
            <p:sp>
              <p:nvSpPr>
                <p:cNvPr id="31" name="Freeform 12">
                  <a:extLst>
                    <a:ext uri="{FF2B5EF4-FFF2-40B4-BE49-F238E27FC236}">
                      <a16:creationId xmlns:a16="http://schemas.microsoft.com/office/drawing/2014/main" id="{F69A2BEF-BE03-52C2-6DFA-050640B0D810}"/>
                    </a:ext>
                  </a:extLst>
                </p:cNvPr>
                <p:cNvSpPr>
                  <a:spLocks noChangeArrowheads="1"/>
                </p:cNvSpPr>
                <p:nvPr/>
              </p:nvSpPr>
              <p:spPr bwMode="auto">
                <a:xfrm>
                  <a:off x="4568540" y="5001771"/>
                  <a:ext cx="82768" cy="1638832"/>
                </a:xfrm>
                <a:custGeom>
                  <a:avLst/>
                  <a:gdLst>
                    <a:gd name="T0" fmla="*/ 67 w 68"/>
                    <a:gd name="T1" fmla="*/ 1309 h 1310"/>
                    <a:gd name="T2" fmla="*/ 0 w 68"/>
                    <a:gd name="T3" fmla="*/ 1309 h 1310"/>
                    <a:gd name="T4" fmla="*/ 0 w 68"/>
                    <a:gd name="T5" fmla="*/ 0 h 1310"/>
                    <a:gd name="T6" fmla="*/ 67 w 68"/>
                    <a:gd name="T7" fmla="*/ 0 h 1310"/>
                    <a:gd name="T8" fmla="*/ 67 w 68"/>
                    <a:gd name="T9" fmla="*/ 1309 h 1310"/>
                  </a:gdLst>
                  <a:ahLst/>
                  <a:cxnLst>
                    <a:cxn ang="0">
                      <a:pos x="T0" y="T1"/>
                    </a:cxn>
                    <a:cxn ang="0">
                      <a:pos x="T2" y="T3"/>
                    </a:cxn>
                    <a:cxn ang="0">
                      <a:pos x="T4" y="T5"/>
                    </a:cxn>
                    <a:cxn ang="0">
                      <a:pos x="T6" y="T7"/>
                    </a:cxn>
                    <a:cxn ang="0">
                      <a:pos x="T8" y="T9"/>
                    </a:cxn>
                  </a:cxnLst>
                  <a:rect l="0" t="0" r="r" b="b"/>
                  <a:pathLst>
                    <a:path w="68" h="1310">
                      <a:moveTo>
                        <a:pt x="67" y="1309"/>
                      </a:moveTo>
                      <a:lnTo>
                        <a:pt x="0" y="1309"/>
                      </a:lnTo>
                      <a:lnTo>
                        <a:pt x="0" y="0"/>
                      </a:lnTo>
                      <a:lnTo>
                        <a:pt x="67" y="0"/>
                      </a:lnTo>
                      <a:lnTo>
                        <a:pt x="67" y="1309"/>
                      </a:lnTo>
                    </a:path>
                  </a:pathLst>
                </a:custGeom>
                <a:solidFill>
                  <a:schemeClr val="accent1"/>
                </a:solidFill>
                <a:ln>
                  <a:noFill/>
                </a:ln>
                <a:effectLst/>
              </p:spPr>
              <p:txBody>
                <a:bodyPr wrap="none" anchor="ctr"/>
                <a:lstStyle/>
                <a:p>
                  <a:endParaRPr lang="en-US" sz="6532" dirty="0">
                    <a:latin typeface="Open Sans Light" panose="020B0306030504020204" pitchFamily="34" charset="0"/>
                  </a:endParaRPr>
                </a:p>
              </p:txBody>
            </p:sp>
            <p:sp>
              <p:nvSpPr>
                <p:cNvPr id="32" name="Freeform 13">
                  <a:extLst>
                    <a:ext uri="{FF2B5EF4-FFF2-40B4-BE49-F238E27FC236}">
                      <a16:creationId xmlns:a16="http://schemas.microsoft.com/office/drawing/2014/main" id="{135E690F-3E9F-A21F-3CEB-C8849D6ADA06}"/>
                    </a:ext>
                  </a:extLst>
                </p:cNvPr>
                <p:cNvSpPr>
                  <a:spLocks noChangeArrowheads="1"/>
                </p:cNvSpPr>
                <p:nvPr/>
              </p:nvSpPr>
              <p:spPr bwMode="auto">
                <a:xfrm>
                  <a:off x="4452663" y="6480579"/>
                  <a:ext cx="314525" cy="314524"/>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5"/>
                        <a:pt x="196" y="252"/>
                        <a:pt x="126" y="252"/>
                      </a:cubicBezTo>
                      <a:lnTo>
                        <a:pt x="126" y="252"/>
                      </a:lnTo>
                      <a:cubicBezTo>
                        <a:pt x="56" y="252"/>
                        <a:pt x="0" y="195"/>
                        <a:pt x="0" y="126"/>
                      </a:cubicBezTo>
                      <a:lnTo>
                        <a:pt x="0" y="126"/>
                      </a:lnTo>
                      <a:cubicBezTo>
                        <a:pt x="0" y="56"/>
                        <a:pt x="56" y="0"/>
                        <a:pt x="126" y="0"/>
                      </a:cubicBezTo>
                      <a:lnTo>
                        <a:pt x="126" y="0"/>
                      </a:lnTo>
                      <a:cubicBezTo>
                        <a:pt x="196" y="0"/>
                        <a:pt x="252" y="56"/>
                        <a:pt x="252" y="126"/>
                      </a:cubicBezTo>
                    </a:path>
                  </a:pathLst>
                </a:custGeom>
                <a:solidFill>
                  <a:schemeClr val="accent1"/>
                </a:solidFill>
                <a:ln>
                  <a:noFill/>
                </a:ln>
                <a:effectLst/>
              </p:spPr>
              <p:txBody>
                <a:bodyPr wrap="none" anchor="ctr"/>
                <a:lstStyle/>
                <a:p>
                  <a:endParaRPr lang="en-US" sz="6532" dirty="0">
                    <a:latin typeface="Open Sans Light" panose="020B0306030504020204" pitchFamily="34" charset="0"/>
                  </a:endParaRPr>
                </a:p>
              </p:txBody>
            </p:sp>
          </p:grpSp>
          <p:grpSp>
            <p:nvGrpSpPr>
              <p:cNvPr id="16" name="Group 15">
                <a:extLst>
                  <a:ext uri="{FF2B5EF4-FFF2-40B4-BE49-F238E27FC236}">
                    <a16:creationId xmlns:a16="http://schemas.microsoft.com/office/drawing/2014/main" id="{5AD8A85E-0256-AC63-0A25-0E5273983D7D}"/>
                  </a:ext>
                </a:extLst>
              </p:cNvPr>
              <p:cNvGrpSpPr/>
              <p:nvPr/>
            </p:nvGrpSpPr>
            <p:grpSpPr>
              <a:xfrm>
                <a:off x="7576926" y="4775539"/>
                <a:ext cx="314525" cy="3939809"/>
                <a:chOff x="7575820" y="4775539"/>
                <a:chExt cx="314525" cy="3939809"/>
              </a:xfrm>
            </p:grpSpPr>
            <p:sp>
              <p:nvSpPr>
                <p:cNvPr id="29" name="Freeform 14">
                  <a:extLst>
                    <a:ext uri="{FF2B5EF4-FFF2-40B4-BE49-F238E27FC236}">
                      <a16:creationId xmlns:a16="http://schemas.microsoft.com/office/drawing/2014/main" id="{5515C781-E305-EE64-26FC-CB633476DAEF}"/>
                    </a:ext>
                  </a:extLst>
                </p:cNvPr>
                <p:cNvSpPr>
                  <a:spLocks noChangeArrowheads="1"/>
                </p:cNvSpPr>
                <p:nvPr/>
              </p:nvSpPr>
              <p:spPr bwMode="auto">
                <a:xfrm>
                  <a:off x="7691698" y="4775539"/>
                  <a:ext cx="88287" cy="3785310"/>
                </a:xfrm>
                <a:custGeom>
                  <a:avLst/>
                  <a:gdLst>
                    <a:gd name="T0" fmla="*/ 68 w 69"/>
                    <a:gd name="T1" fmla="*/ 3024 h 3025"/>
                    <a:gd name="T2" fmla="*/ 0 w 69"/>
                    <a:gd name="T3" fmla="*/ 3024 h 3025"/>
                    <a:gd name="T4" fmla="*/ 0 w 69"/>
                    <a:gd name="T5" fmla="*/ 0 h 3025"/>
                    <a:gd name="T6" fmla="*/ 68 w 69"/>
                    <a:gd name="T7" fmla="*/ 0 h 3025"/>
                    <a:gd name="T8" fmla="*/ 68 w 69"/>
                    <a:gd name="T9" fmla="*/ 3024 h 3025"/>
                  </a:gdLst>
                  <a:ahLst/>
                  <a:cxnLst>
                    <a:cxn ang="0">
                      <a:pos x="T0" y="T1"/>
                    </a:cxn>
                    <a:cxn ang="0">
                      <a:pos x="T2" y="T3"/>
                    </a:cxn>
                    <a:cxn ang="0">
                      <a:pos x="T4" y="T5"/>
                    </a:cxn>
                    <a:cxn ang="0">
                      <a:pos x="T6" y="T7"/>
                    </a:cxn>
                    <a:cxn ang="0">
                      <a:pos x="T8" y="T9"/>
                    </a:cxn>
                  </a:cxnLst>
                  <a:rect l="0" t="0" r="r" b="b"/>
                  <a:pathLst>
                    <a:path w="69" h="3025">
                      <a:moveTo>
                        <a:pt x="68" y="3024"/>
                      </a:moveTo>
                      <a:lnTo>
                        <a:pt x="0" y="3024"/>
                      </a:lnTo>
                      <a:lnTo>
                        <a:pt x="0" y="0"/>
                      </a:lnTo>
                      <a:lnTo>
                        <a:pt x="68" y="0"/>
                      </a:lnTo>
                      <a:lnTo>
                        <a:pt x="68" y="3024"/>
                      </a:lnTo>
                    </a:path>
                  </a:pathLst>
                </a:custGeom>
                <a:solidFill>
                  <a:schemeClr val="accent2"/>
                </a:solidFill>
                <a:ln>
                  <a:noFill/>
                </a:ln>
                <a:effectLst/>
              </p:spPr>
              <p:txBody>
                <a:bodyPr wrap="none" anchor="ctr"/>
                <a:lstStyle/>
                <a:p>
                  <a:endParaRPr lang="en-US" sz="6532" dirty="0">
                    <a:latin typeface="Open Sans Light" panose="020B0306030504020204" pitchFamily="34" charset="0"/>
                  </a:endParaRPr>
                </a:p>
              </p:txBody>
            </p:sp>
            <p:sp>
              <p:nvSpPr>
                <p:cNvPr id="30" name="Freeform 15">
                  <a:extLst>
                    <a:ext uri="{FF2B5EF4-FFF2-40B4-BE49-F238E27FC236}">
                      <a16:creationId xmlns:a16="http://schemas.microsoft.com/office/drawing/2014/main" id="{411B592E-BABA-C334-9200-E722E4E3AD65}"/>
                    </a:ext>
                  </a:extLst>
                </p:cNvPr>
                <p:cNvSpPr>
                  <a:spLocks noChangeArrowheads="1"/>
                </p:cNvSpPr>
                <p:nvPr/>
              </p:nvSpPr>
              <p:spPr bwMode="auto">
                <a:xfrm>
                  <a:off x="7575820" y="8400824"/>
                  <a:ext cx="314525" cy="314524"/>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6" y="252"/>
                        <a:pt x="126" y="252"/>
                      </a:cubicBezTo>
                      <a:lnTo>
                        <a:pt x="126" y="252"/>
                      </a:lnTo>
                      <a:cubicBezTo>
                        <a:pt x="56" y="252"/>
                        <a:pt x="0" y="196"/>
                        <a:pt x="0" y="126"/>
                      </a:cubicBezTo>
                      <a:lnTo>
                        <a:pt x="0" y="126"/>
                      </a:lnTo>
                      <a:cubicBezTo>
                        <a:pt x="0" y="57"/>
                        <a:pt x="56" y="0"/>
                        <a:pt x="126" y="0"/>
                      </a:cubicBezTo>
                      <a:lnTo>
                        <a:pt x="126" y="0"/>
                      </a:lnTo>
                      <a:cubicBezTo>
                        <a:pt x="196" y="0"/>
                        <a:pt x="252" y="57"/>
                        <a:pt x="252" y="126"/>
                      </a:cubicBezTo>
                    </a:path>
                  </a:pathLst>
                </a:custGeom>
                <a:solidFill>
                  <a:schemeClr val="accent2"/>
                </a:solidFill>
                <a:ln>
                  <a:noFill/>
                </a:ln>
                <a:effectLst/>
              </p:spPr>
              <p:txBody>
                <a:bodyPr wrap="none" anchor="ctr"/>
                <a:lstStyle/>
                <a:p>
                  <a:endParaRPr lang="en-US" sz="6532" dirty="0">
                    <a:latin typeface="Open Sans Light" panose="020B0306030504020204" pitchFamily="34" charset="0"/>
                  </a:endParaRPr>
                </a:p>
              </p:txBody>
            </p:sp>
          </p:grpSp>
          <p:grpSp>
            <p:nvGrpSpPr>
              <p:cNvPr id="17" name="Group 16">
                <a:extLst>
                  <a:ext uri="{FF2B5EF4-FFF2-40B4-BE49-F238E27FC236}">
                    <a16:creationId xmlns:a16="http://schemas.microsoft.com/office/drawing/2014/main" id="{E8D84B3C-39B8-F6D7-2926-B311CAFB6390}"/>
                  </a:ext>
                </a:extLst>
              </p:cNvPr>
              <p:cNvGrpSpPr/>
              <p:nvPr/>
            </p:nvGrpSpPr>
            <p:grpSpPr>
              <a:xfrm>
                <a:off x="10701189" y="5520458"/>
                <a:ext cx="314521" cy="2074750"/>
                <a:chOff x="10704500" y="5520458"/>
                <a:chExt cx="314521" cy="2074750"/>
              </a:xfrm>
            </p:grpSpPr>
            <p:sp>
              <p:nvSpPr>
                <p:cNvPr id="27" name="Freeform 16">
                  <a:extLst>
                    <a:ext uri="{FF2B5EF4-FFF2-40B4-BE49-F238E27FC236}">
                      <a16:creationId xmlns:a16="http://schemas.microsoft.com/office/drawing/2014/main" id="{4234BF75-98FA-CC8D-DA64-ED4FE2568BE3}"/>
                    </a:ext>
                  </a:extLst>
                </p:cNvPr>
                <p:cNvSpPr>
                  <a:spLocks noChangeArrowheads="1"/>
                </p:cNvSpPr>
                <p:nvPr/>
              </p:nvSpPr>
              <p:spPr bwMode="auto">
                <a:xfrm>
                  <a:off x="10820376" y="5520458"/>
                  <a:ext cx="82770" cy="1920245"/>
                </a:xfrm>
                <a:custGeom>
                  <a:avLst/>
                  <a:gdLst>
                    <a:gd name="T0" fmla="*/ 67 w 68"/>
                    <a:gd name="T1" fmla="*/ 1535 h 1536"/>
                    <a:gd name="T2" fmla="*/ 0 w 68"/>
                    <a:gd name="T3" fmla="*/ 1535 h 1536"/>
                    <a:gd name="T4" fmla="*/ 0 w 68"/>
                    <a:gd name="T5" fmla="*/ 0 h 1536"/>
                    <a:gd name="T6" fmla="*/ 67 w 68"/>
                    <a:gd name="T7" fmla="*/ 0 h 1536"/>
                    <a:gd name="T8" fmla="*/ 67 w 68"/>
                    <a:gd name="T9" fmla="*/ 1535 h 1536"/>
                  </a:gdLst>
                  <a:ahLst/>
                  <a:cxnLst>
                    <a:cxn ang="0">
                      <a:pos x="T0" y="T1"/>
                    </a:cxn>
                    <a:cxn ang="0">
                      <a:pos x="T2" y="T3"/>
                    </a:cxn>
                    <a:cxn ang="0">
                      <a:pos x="T4" y="T5"/>
                    </a:cxn>
                    <a:cxn ang="0">
                      <a:pos x="T6" y="T7"/>
                    </a:cxn>
                    <a:cxn ang="0">
                      <a:pos x="T8" y="T9"/>
                    </a:cxn>
                  </a:cxnLst>
                  <a:rect l="0" t="0" r="r" b="b"/>
                  <a:pathLst>
                    <a:path w="68" h="1536">
                      <a:moveTo>
                        <a:pt x="67" y="1535"/>
                      </a:moveTo>
                      <a:lnTo>
                        <a:pt x="0" y="1535"/>
                      </a:lnTo>
                      <a:lnTo>
                        <a:pt x="0" y="0"/>
                      </a:lnTo>
                      <a:lnTo>
                        <a:pt x="67" y="0"/>
                      </a:lnTo>
                      <a:lnTo>
                        <a:pt x="67" y="1535"/>
                      </a:lnTo>
                    </a:path>
                  </a:pathLst>
                </a:custGeom>
                <a:solidFill>
                  <a:schemeClr val="accent3"/>
                </a:solidFill>
                <a:ln>
                  <a:noFill/>
                </a:ln>
                <a:effectLst/>
              </p:spPr>
              <p:txBody>
                <a:bodyPr wrap="none" anchor="ctr"/>
                <a:lstStyle/>
                <a:p>
                  <a:endParaRPr lang="en-US" sz="6532" dirty="0">
                    <a:latin typeface="Open Sans Light" panose="020B0306030504020204" pitchFamily="34" charset="0"/>
                  </a:endParaRPr>
                </a:p>
              </p:txBody>
            </p:sp>
            <p:sp>
              <p:nvSpPr>
                <p:cNvPr id="28" name="Freeform 17">
                  <a:extLst>
                    <a:ext uri="{FF2B5EF4-FFF2-40B4-BE49-F238E27FC236}">
                      <a16:creationId xmlns:a16="http://schemas.microsoft.com/office/drawing/2014/main" id="{21E87CA1-643A-C73E-5ACD-C888CE9B0816}"/>
                    </a:ext>
                  </a:extLst>
                </p:cNvPr>
                <p:cNvSpPr>
                  <a:spLocks noChangeArrowheads="1"/>
                </p:cNvSpPr>
                <p:nvPr/>
              </p:nvSpPr>
              <p:spPr bwMode="auto">
                <a:xfrm>
                  <a:off x="10704500" y="7280687"/>
                  <a:ext cx="314521" cy="314521"/>
                </a:xfrm>
                <a:custGeom>
                  <a:avLst/>
                  <a:gdLst>
                    <a:gd name="T0" fmla="*/ 251 w 252"/>
                    <a:gd name="T1" fmla="*/ 126 h 253"/>
                    <a:gd name="T2" fmla="*/ 251 w 252"/>
                    <a:gd name="T3" fmla="*/ 126 h 253"/>
                    <a:gd name="T4" fmla="*/ 125 w 252"/>
                    <a:gd name="T5" fmla="*/ 252 h 253"/>
                    <a:gd name="T6" fmla="*/ 125 w 252"/>
                    <a:gd name="T7" fmla="*/ 252 h 253"/>
                    <a:gd name="T8" fmla="*/ 0 w 252"/>
                    <a:gd name="T9" fmla="*/ 126 h 253"/>
                    <a:gd name="T10" fmla="*/ 0 w 252"/>
                    <a:gd name="T11" fmla="*/ 126 h 253"/>
                    <a:gd name="T12" fmla="*/ 125 w 252"/>
                    <a:gd name="T13" fmla="*/ 0 h 253"/>
                    <a:gd name="T14" fmla="*/ 125 w 252"/>
                    <a:gd name="T15" fmla="*/ 0 h 253"/>
                    <a:gd name="T16" fmla="*/ 251 w 252"/>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253">
                      <a:moveTo>
                        <a:pt x="251" y="126"/>
                      </a:moveTo>
                      <a:lnTo>
                        <a:pt x="251" y="126"/>
                      </a:lnTo>
                      <a:cubicBezTo>
                        <a:pt x="251" y="196"/>
                        <a:pt x="194" y="252"/>
                        <a:pt x="125" y="252"/>
                      </a:cubicBezTo>
                      <a:lnTo>
                        <a:pt x="125" y="252"/>
                      </a:lnTo>
                      <a:cubicBezTo>
                        <a:pt x="56" y="252"/>
                        <a:pt x="0" y="196"/>
                        <a:pt x="0" y="126"/>
                      </a:cubicBezTo>
                      <a:lnTo>
                        <a:pt x="0" y="126"/>
                      </a:lnTo>
                      <a:cubicBezTo>
                        <a:pt x="0" y="57"/>
                        <a:pt x="56" y="0"/>
                        <a:pt x="125" y="0"/>
                      </a:cubicBezTo>
                      <a:lnTo>
                        <a:pt x="125" y="0"/>
                      </a:lnTo>
                      <a:cubicBezTo>
                        <a:pt x="194" y="0"/>
                        <a:pt x="251" y="57"/>
                        <a:pt x="251" y="126"/>
                      </a:cubicBezTo>
                    </a:path>
                  </a:pathLst>
                </a:custGeom>
                <a:solidFill>
                  <a:schemeClr val="accent3"/>
                </a:solidFill>
                <a:ln>
                  <a:noFill/>
                </a:ln>
                <a:effectLst/>
              </p:spPr>
              <p:txBody>
                <a:bodyPr wrap="none" anchor="ctr"/>
                <a:lstStyle/>
                <a:p>
                  <a:endParaRPr lang="en-US" sz="6532" dirty="0">
                    <a:latin typeface="Open Sans Light" panose="020B0306030504020204" pitchFamily="34" charset="0"/>
                  </a:endParaRPr>
                </a:p>
              </p:txBody>
            </p:sp>
          </p:grpSp>
          <p:grpSp>
            <p:nvGrpSpPr>
              <p:cNvPr id="18" name="Group 17">
                <a:extLst>
                  <a:ext uri="{FF2B5EF4-FFF2-40B4-BE49-F238E27FC236}">
                    <a16:creationId xmlns:a16="http://schemas.microsoft.com/office/drawing/2014/main" id="{27ABDE6F-2DDF-8359-1EB8-1C167D3C40C3}"/>
                  </a:ext>
                </a:extLst>
              </p:cNvPr>
              <p:cNvGrpSpPr/>
              <p:nvPr/>
            </p:nvGrpSpPr>
            <p:grpSpPr>
              <a:xfrm>
                <a:off x="13825448" y="6132952"/>
                <a:ext cx="320042" cy="3950848"/>
                <a:chOff x="13827658" y="6132952"/>
                <a:chExt cx="320042" cy="3950848"/>
              </a:xfrm>
            </p:grpSpPr>
            <p:sp>
              <p:nvSpPr>
                <p:cNvPr id="25" name="Freeform 18">
                  <a:extLst>
                    <a:ext uri="{FF2B5EF4-FFF2-40B4-BE49-F238E27FC236}">
                      <a16:creationId xmlns:a16="http://schemas.microsoft.com/office/drawing/2014/main" id="{B57CAEF7-5248-F6F7-F3D1-EDCF3D12D5D3}"/>
                    </a:ext>
                  </a:extLst>
                </p:cNvPr>
                <p:cNvSpPr>
                  <a:spLocks noChangeArrowheads="1"/>
                </p:cNvSpPr>
                <p:nvPr/>
              </p:nvSpPr>
              <p:spPr bwMode="auto">
                <a:xfrm>
                  <a:off x="13943534" y="6132952"/>
                  <a:ext cx="82770" cy="3790828"/>
                </a:xfrm>
                <a:custGeom>
                  <a:avLst/>
                  <a:gdLst>
                    <a:gd name="T0" fmla="*/ 67 w 68"/>
                    <a:gd name="T1" fmla="*/ 3029 h 3030"/>
                    <a:gd name="T2" fmla="*/ 0 w 68"/>
                    <a:gd name="T3" fmla="*/ 3029 h 3030"/>
                    <a:gd name="T4" fmla="*/ 0 w 68"/>
                    <a:gd name="T5" fmla="*/ 0 h 3030"/>
                    <a:gd name="T6" fmla="*/ 67 w 68"/>
                    <a:gd name="T7" fmla="*/ 0 h 3030"/>
                    <a:gd name="T8" fmla="*/ 67 w 68"/>
                    <a:gd name="T9" fmla="*/ 3029 h 3030"/>
                  </a:gdLst>
                  <a:ahLst/>
                  <a:cxnLst>
                    <a:cxn ang="0">
                      <a:pos x="T0" y="T1"/>
                    </a:cxn>
                    <a:cxn ang="0">
                      <a:pos x="T2" y="T3"/>
                    </a:cxn>
                    <a:cxn ang="0">
                      <a:pos x="T4" y="T5"/>
                    </a:cxn>
                    <a:cxn ang="0">
                      <a:pos x="T6" y="T7"/>
                    </a:cxn>
                    <a:cxn ang="0">
                      <a:pos x="T8" y="T9"/>
                    </a:cxn>
                  </a:cxnLst>
                  <a:rect l="0" t="0" r="r" b="b"/>
                  <a:pathLst>
                    <a:path w="68" h="3030">
                      <a:moveTo>
                        <a:pt x="67" y="3029"/>
                      </a:moveTo>
                      <a:lnTo>
                        <a:pt x="0" y="3029"/>
                      </a:lnTo>
                      <a:lnTo>
                        <a:pt x="0" y="0"/>
                      </a:lnTo>
                      <a:lnTo>
                        <a:pt x="67" y="0"/>
                      </a:lnTo>
                      <a:lnTo>
                        <a:pt x="67" y="3029"/>
                      </a:lnTo>
                    </a:path>
                  </a:pathLst>
                </a:custGeom>
                <a:solidFill>
                  <a:schemeClr val="accent4"/>
                </a:solidFill>
                <a:ln>
                  <a:noFill/>
                </a:ln>
                <a:effectLst/>
              </p:spPr>
              <p:txBody>
                <a:bodyPr wrap="none" anchor="ctr"/>
                <a:lstStyle/>
                <a:p>
                  <a:endParaRPr lang="en-US" sz="6532" dirty="0">
                    <a:latin typeface="Open Sans Light" panose="020B0306030504020204" pitchFamily="34" charset="0"/>
                  </a:endParaRPr>
                </a:p>
              </p:txBody>
            </p:sp>
            <p:sp>
              <p:nvSpPr>
                <p:cNvPr id="26" name="Freeform 19">
                  <a:extLst>
                    <a:ext uri="{FF2B5EF4-FFF2-40B4-BE49-F238E27FC236}">
                      <a16:creationId xmlns:a16="http://schemas.microsoft.com/office/drawing/2014/main" id="{09C6DD43-E4F8-39E8-A49D-D0DB572CC3F0}"/>
                    </a:ext>
                  </a:extLst>
                </p:cNvPr>
                <p:cNvSpPr>
                  <a:spLocks noChangeArrowheads="1"/>
                </p:cNvSpPr>
                <p:nvPr/>
              </p:nvSpPr>
              <p:spPr bwMode="auto">
                <a:xfrm>
                  <a:off x="13827658" y="9769276"/>
                  <a:ext cx="320042" cy="314524"/>
                </a:xfrm>
                <a:custGeom>
                  <a:avLst/>
                  <a:gdLst>
                    <a:gd name="T0" fmla="*/ 253 w 254"/>
                    <a:gd name="T1" fmla="*/ 127 h 253"/>
                    <a:gd name="T2" fmla="*/ 253 w 254"/>
                    <a:gd name="T3" fmla="*/ 127 h 253"/>
                    <a:gd name="T4" fmla="*/ 126 w 254"/>
                    <a:gd name="T5" fmla="*/ 252 h 253"/>
                    <a:gd name="T6" fmla="*/ 126 w 254"/>
                    <a:gd name="T7" fmla="*/ 252 h 253"/>
                    <a:gd name="T8" fmla="*/ 0 w 254"/>
                    <a:gd name="T9" fmla="*/ 127 h 253"/>
                    <a:gd name="T10" fmla="*/ 0 w 254"/>
                    <a:gd name="T11" fmla="*/ 127 h 253"/>
                    <a:gd name="T12" fmla="*/ 126 w 254"/>
                    <a:gd name="T13" fmla="*/ 0 h 253"/>
                    <a:gd name="T14" fmla="*/ 126 w 254"/>
                    <a:gd name="T15" fmla="*/ 0 h 253"/>
                    <a:gd name="T16" fmla="*/ 253 w 254"/>
                    <a:gd name="T17"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3">
                      <a:moveTo>
                        <a:pt x="253" y="127"/>
                      </a:moveTo>
                      <a:lnTo>
                        <a:pt x="253" y="127"/>
                      </a:lnTo>
                      <a:cubicBezTo>
                        <a:pt x="253" y="196"/>
                        <a:pt x="196" y="252"/>
                        <a:pt x="126" y="252"/>
                      </a:cubicBezTo>
                      <a:lnTo>
                        <a:pt x="126" y="252"/>
                      </a:lnTo>
                      <a:cubicBezTo>
                        <a:pt x="57" y="252"/>
                        <a:pt x="0" y="196"/>
                        <a:pt x="0" y="127"/>
                      </a:cubicBezTo>
                      <a:lnTo>
                        <a:pt x="0" y="127"/>
                      </a:lnTo>
                      <a:cubicBezTo>
                        <a:pt x="0" y="57"/>
                        <a:pt x="57" y="0"/>
                        <a:pt x="126" y="0"/>
                      </a:cubicBezTo>
                      <a:lnTo>
                        <a:pt x="126" y="0"/>
                      </a:lnTo>
                      <a:cubicBezTo>
                        <a:pt x="196" y="0"/>
                        <a:pt x="253" y="57"/>
                        <a:pt x="253" y="127"/>
                      </a:cubicBezTo>
                    </a:path>
                  </a:pathLst>
                </a:custGeom>
                <a:solidFill>
                  <a:schemeClr val="accent4"/>
                </a:solidFill>
                <a:ln>
                  <a:noFill/>
                </a:ln>
                <a:effectLst/>
              </p:spPr>
              <p:txBody>
                <a:bodyPr wrap="none" anchor="ctr"/>
                <a:lstStyle/>
                <a:p>
                  <a:endParaRPr lang="en-US" sz="6532" dirty="0">
                    <a:latin typeface="Open Sans Light" panose="020B0306030504020204" pitchFamily="34" charset="0"/>
                  </a:endParaRPr>
                </a:p>
              </p:txBody>
            </p:sp>
          </p:grpSp>
          <p:grpSp>
            <p:nvGrpSpPr>
              <p:cNvPr id="19" name="Group 18">
                <a:extLst>
                  <a:ext uri="{FF2B5EF4-FFF2-40B4-BE49-F238E27FC236}">
                    <a16:creationId xmlns:a16="http://schemas.microsoft.com/office/drawing/2014/main" id="{F3C22196-C137-5A80-8B47-D41AE04D0EB5}"/>
                  </a:ext>
                </a:extLst>
              </p:cNvPr>
              <p:cNvGrpSpPr/>
              <p:nvPr/>
            </p:nvGrpSpPr>
            <p:grpSpPr>
              <a:xfrm>
                <a:off x="16955228" y="5603228"/>
                <a:ext cx="314521" cy="2080267"/>
                <a:chOff x="16950817" y="5603228"/>
                <a:chExt cx="314521" cy="2080267"/>
              </a:xfrm>
            </p:grpSpPr>
            <p:sp>
              <p:nvSpPr>
                <p:cNvPr id="23" name="Freeform 20">
                  <a:extLst>
                    <a:ext uri="{FF2B5EF4-FFF2-40B4-BE49-F238E27FC236}">
                      <a16:creationId xmlns:a16="http://schemas.microsoft.com/office/drawing/2014/main" id="{0925409F-2DC1-E87E-ED6B-7A50F506E8A8}"/>
                    </a:ext>
                  </a:extLst>
                </p:cNvPr>
                <p:cNvSpPr>
                  <a:spLocks noChangeArrowheads="1"/>
                </p:cNvSpPr>
                <p:nvPr/>
              </p:nvSpPr>
              <p:spPr bwMode="auto">
                <a:xfrm>
                  <a:off x="17066692" y="5603228"/>
                  <a:ext cx="82770" cy="1920245"/>
                </a:xfrm>
                <a:custGeom>
                  <a:avLst/>
                  <a:gdLst>
                    <a:gd name="T0" fmla="*/ 67 w 68"/>
                    <a:gd name="T1" fmla="*/ 1535 h 1536"/>
                    <a:gd name="T2" fmla="*/ 0 w 68"/>
                    <a:gd name="T3" fmla="*/ 1535 h 1536"/>
                    <a:gd name="T4" fmla="*/ 0 w 68"/>
                    <a:gd name="T5" fmla="*/ 0 h 1536"/>
                    <a:gd name="T6" fmla="*/ 67 w 68"/>
                    <a:gd name="T7" fmla="*/ 0 h 1536"/>
                    <a:gd name="T8" fmla="*/ 67 w 68"/>
                    <a:gd name="T9" fmla="*/ 1535 h 1536"/>
                  </a:gdLst>
                  <a:ahLst/>
                  <a:cxnLst>
                    <a:cxn ang="0">
                      <a:pos x="T0" y="T1"/>
                    </a:cxn>
                    <a:cxn ang="0">
                      <a:pos x="T2" y="T3"/>
                    </a:cxn>
                    <a:cxn ang="0">
                      <a:pos x="T4" y="T5"/>
                    </a:cxn>
                    <a:cxn ang="0">
                      <a:pos x="T6" y="T7"/>
                    </a:cxn>
                    <a:cxn ang="0">
                      <a:pos x="T8" y="T9"/>
                    </a:cxn>
                  </a:cxnLst>
                  <a:rect l="0" t="0" r="r" b="b"/>
                  <a:pathLst>
                    <a:path w="68" h="1536">
                      <a:moveTo>
                        <a:pt x="67" y="1535"/>
                      </a:moveTo>
                      <a:lnTo>
                        <a:pt x="0" y="1535"/>
                      </a:lnTo>
                      <a:lnTo>
                        <a:pt x="0" y="0"/>
                      </a:lnTo>
                      <a:lnTo>
                        <a:pt x="67" y="0"/>
                      </a:lnTo>
                      <a:lnTo>
                        <a:pt x="67" y="1535"/>
                      </a:lnTo>
                    </a:path>
                  </a:pathLst>
                </a:custGeom>
                <a:solidFill>
                  <a:schemeClr val="accent5"/>
                </a:solidFill>
                <a:ln>
                  <a:noFill/>
                </a:ln>
                <a:effectLst/>
              </p:spPr>
              <p:txBody>
                <a:bodyPr wrap="none" anchor="ctr"/>
                <a:lstStyle/>
                <a:p>
                  <a:endParaRPr lang="en-US" sz="6532" dirty="0">
                    <a:latin typeface="Open Sans Light" panose="020B0306030504020204" pitchFamily="34" charset="0"/>
                  </a:endParaRPr>
                </a:p>
              </p:txBody>
            </p:sp>
            <p:sp>
              <p:nvSpPr>
                <p:cNvPr id="24" name="Freeform 21">
                  <a:extLst>
                    <a:ext uri="{FF2B5EF4-FFF2-40B4-BE49-F238E27FC236}">
                      <a16:creationId xmlns:a16="http://schemas.microsoft.com/office/drawing/2014/main" id="{7B7D33E2-6D87-0D45-683D-37C1B9DA0812}"/>
                    </a:ext>
                  </a:extLst>
                </p:cNvPr>
                <p:cNvSpPr>
                  <a:spLocks noChangeArrowheads="1"/>
                </p:cNvSpPr>
                <p:nvPr/>
              </p:nvSpPr>
              <p:spPr bwMode="auto">
                <a:xfrm>
                  <a:off x="16950817" y="7368974"/>
                  <a:ext cx="314521" cy="314521"/>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6" y="252"/>
                        <a:pt x="126" y="252"/>
                      </a:cubicBezTo>
                      <a:lnTo>
                        <a:pt x="126" y="252"/>
                      </a:lnTo>
                      <a:cubicBezTo>
                        <a:pt x="56" y="252"/>
                        <a:pt x="0" y="196"/>
                        <a:pt x="0" y="126"/>
                      </a:cubicBezTo>
                      <a:lnTo>
                        <a:pt x="0" y="126"/>
                      </a:lnTo>
                      <a:cubicBezTo>
                        <a:pt x="0" y="57"/>
                        <a:pt x="56" y="0"/>
                        <a:pt x="126" y="0"/>
                      </a:cubicBezTo>
                      <a:lnTo>
                        <a:pt x="126" y="0"/>
                      </a:lnTo>
                      <a:cubicBezTo>
                        <a:pt x="196" y="0"/>
                        <a:pt x="252" y="57"/>
                        <a:pt x="252" y="126"/>
                      </a:cubicBezTo>
                    </a:path>
                  </a:pathLst>
                </a:custGeom>
                <a:solidFill>
                  <a:schemeClr val="accent5"/>
                </a:solidFill>
                <a:ln>
                  <a:noFill/>
                </a:ln>
                <a:effectLst/>
              </p:spPr>
              <p:txBody>
                <a:bodyPr wrap="none" anchor="ctr"/>
                <a:lstStyle/>
                <a:p>
                  <a:endParaRPr lang="en-US" sz="6532" dirty="0">
                    <a:latin typeface="Open Sans Light" panose="020B0306030504020204" pitchFamily="34" charset="0"/>
                  </a:endParaRPr>
                </a:p>
              </p:txBody>
            </p:sp>
          </p:grpSp>
          <p:grpSp>
            <p:nvGrpSpPr>
              <p:cNvPr id="20" name="Group 19">
                <a:extLst>
                  <a:ext uri="{FF2B5EF4-FFF2-40B4-BE49-F238E27FC236}">
                    <a16:creationId xmlns:a16="http://schemas.microsoft.com/office/drawing/2014/main" id="{F2240DD6-29FB-41B9-E8C3-94F16980EDA2}"/>
                  </a:ext>
                </a:extLst>
              </p:cNvPr>
              <p:cNvGrpSpPr/>
              <p:nvPr/>
            </p:nvGrpSpPr>
            <p:grpSpPr>
              <a:xfrm>
                <a:off x="20079489" y="3787823"/>
                <a:ext cx="314525" cy="5109619"/>
                <a:chOff x="20079489" y="3787823"/>
                <a:chExt cx="314525" cy="5109619"/>
              </a:xfrm>
            </p:grpSpPr>
            <p:sp>
              <p:nvSpPr>
                <p:cNvPr id="21" name="Freeform 22">
                  <a:extLst>
                    <a:ext uri="{FF2B5EF4-FFF2-40B4-BE49-F238E27FC236}">
                      <a16:creationId xmlns:a16="http://schemas.microsoft.com/office/drawing/2014/main" id="{78D74686-09CB-2BDC-0B9D-31EFAF40756F}"/>
                    </a:ext>
                  </a:extLst>
                </p:cNvPr>
                <p:cNvSpPr>
                  <a:spLocks noChangeArrowheads="1"/>
                </p:cNvSpPr>
                <p:nvPr/>
              </p:nvSpPr>
              <p:spPr bwMode="auto">
                <a:xfrm>
                  <a:off x="20195367" y="3787823"/>
                  <a:ext cx="82768" cy="4949599"/>
                </a:xfrm>
                <a:custGeom>
                  <a:avLst/>
                  <a:gdLst>
                    <a:gd name="T0" fmla="*/ 67 w 68"/>
                    <a:gd name="T1" fmla="*/ 3955 h 3956"/>
                    <a:gd name="T2" fmla="*/ 0 w 68"/>
                    <a:gd name="T3" fmla="*/ 3955 h 3956"/>
                    <a:gd name="T4" fmla="*/ 0 w 68"/>
                    <a:gd name="T5" fmla="*/ 0 h 3956"/>
                    <a:gd name="T6" fmla="*/ 67 w 68"/>
                    <a:gd name="T7" fmla="*/ 0 h 3956"/>
                    <a:gd name="T8" fmla="*/ 67 w 68"/>
                    <a:gd name="T9" fmla="*/ 3955 h 3956"/>
                  </a:gdLst>
                  <a:ahLst/>
                  <a:cxnLst>
                    <a:cxn ang="0">
                      <a:pos x="T0" y="T1"/>
                    </a:cxn>
                    <a:cxn ang="0">
                      <a:pos x="T2" y="T3"/>
                    </a:cxn>
                    <a:cxn ang="0">
                      <a:pos x="T4" y="T5"/>
                    </a:cxn>
                    <a:cxn ang="0">
                      <a:pos x="T6" y="T7"/>
                    </a:cxn>
                    <a:cxn ang="0">
                      <a:pos x="T8" y="T9"/>
                    </a:cxn>
                  </a:cxnLst>
                  <a:rect l="0" t="0" r="r" b="b"/>
                  <a:pathLst>
                    <a:path w="68" h="3956">
                      <a:moveTo>
                        <a:pt x="67" y="3955"/>
                      </a:moveTo>
                      <a:lnTo>
                        <a:pt x="0" y="3955"/>
                      </a:lnTo>
                      <a:lnTo>
                        <a:pt x="0" y="0"/>
                      </a:lnTo>
                      <a:lnTo>
                        <a:pt x="67" y="0"/>
                      </a:lnTo>
                      <a:lnTo>
                        <a:pt x="67" y="3955"/>
                      </a:lnTo>
                    </a:path>
                  </a:pathLst>
                </a:custGeom>
                <a:solidFill>
                  <a:schemeClr val="accent6"/>
                </a:solidFill>
                <a:ln>
                  <a:noFill/>
                </a:ln>
                <a:effectLst/>
              </p:spPr>
              <p:txBody>
                <a:bodyPr wrap="none" anchor="ctr"/>
                <a:lstStyle/>
                <a:p>
                  <a:endParaRPr lang="en-US" sz="6532" dirty="0">
                    <a:latin typeface="Open Sans Light" panose="020B0306030504020204" pitchFamily="34" charset="0"/>
                  </a:endParaRPr>
                </a:p>
              </p:txBody>
            </p:sp>
            <p:sp>
              <p:nvSpPr>
                <p:cNvPr id="22" name="Freeform 23">
                  <a:extLst>
                    <a:ext uri="{FF2B5EF4-FFF2-40B4-BE49-F238E27FC236}">
                      <a16:creationId xmlns:a16="http://schemas.microsoft.com/office/drawing/2014/main" id="{4E56F6D7-B600-7E2E-B192-02C0AB137DDD}"/>
                    </a:ext>
                  </a:extLst>
                </p:cNvPr>
                <p:cNvSpPr>
                  <a:spLocks noChangeArrowheads="1"/>
                </p:cNvSpPr>
                <p:nvPr/>
              </p:nvSpPr>
              <p:spPr bwMode="auto">
                <a:xfrm>
                  <a:off x="20079489" y="8582921"/>
                  <a:ext cx="314525" cy="314521"/>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5" y="252"/>
                        <a:pt x="126" y="252"/>
                      </a:cubicBezTo>
                      <a:lnTo>
                        <a:pt x="126" y="252"/>
                      </a:lnTo>
                      <a:cubicBezTo>
                        <a:pt x="56" y="252"/>
                        <a:pt x="0" y="196"/>
                        <a:pt x="0" y="126"/>
                      </a:cubicBezTo>
                      <a:lnTo>
                        <a:pt x="0" y="126"/>
                      </a:lnTo>
                      <a:cubicBezTo>
                        <a:pt x="0" y="56"/>
                        <a:pt x="56" y="0"/>
                        <a:pt x="126" y="0"/>
                      </a:cubicBezTo>
                      <a:lnTo>
                        <a:pt x="126" y="0"/>
                      </a:lnTo>
                      <a:cubicBezTo>
                        <a:pt x="195" y="0"/>
                        <a:pt x="252" y="56"/>
                        <a:pt x="252" y="126"/>
                      </a:cubicBezTo>
                    </a:path>
                  </a:pathLst>
                </a:custGeom>
                <a:solidFill>
                  <a:schemeClr val="accent6"/>
                </a:solidFill>
                <a:ln>
                  <a:noFill/>
                </a:ln>
                <a:effectLst/>
              </p:spPr>
              <p:txBody>
                <a:bodyPr wrap="none" anchor="ctr"/>
                <a:lstStyle/>
                <a:p>
                  <a:endParaRPr lang="en-US" sz="6532" dirty="0">
                    <a:latin typeface="Open Sans Light" panose="020B0306030504020204" pitchFamily="34" charset="0"/>
                  </a:endParaRPr>
                </a:p>
              </p:txBody>
            </p:sp>
          </p:grpSp>
        </p:grpSp>
        <p:sp>
          <p:nvSpPr>
            <p:cNvPr id="34" name="Subtitle 2">
              <a:extLst>
                <a:ext uri="{FF2B5EF4-FFF2-40B4-BE49-F238E27FC236}">
                  <a16:creationId xmlns:a16="http://schemas.microsoft.com/office/drawing/2014/main" id="{2502D75E-4413-04EB-CAF8-C74D3CD3192E}"/>
                </a:ext>
              </a:extLst>
            </p:cNvPr>
            <p:cNvSpPr txBox="1">
              <a:spLocks/>
            </p:cNvSpPr>
            <p:nvPr/>
          </p:nvSpPr>
          <p:spPr>
            <a:xfrm>
              <a:off x="446152" y="3822927"/>
              <a:ext cx="1840756" cy="830997"/>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6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200" b="1" dirty="0">
                  <a:solidFill>
                    <a:schemeClr val="tx2"/>
                  </a:solidFill>
                  <a:latin typeface="Poppins SemiBold" pitchFamily="2" charset="77"/>
                  <a:cs typeface="Poppins SemiBold" pitchFamily="2" charset="77"/>
                </a:rPr>
                <a:t>REPORTA</a:t>
              </a:r>
              <a:r>
                <a:rPr lang="en-US" sz="1200" dirty="0"/>
                <a:t> </a:t>
              </a:r>
              <a:r>
                <a:rPr lang="es-ES" sz="1200" dirty="0"/>
                <a:t>el incidente en forma </a:t>
              </a:r>
              <a:r>
                <a:rPr lang="es-ES" sz="1200" b="1" dirty="0">
                  <a:solidFill>
                    <a:schemeClr val="tx2"/>
                  </a:solidFill>
                  <a:latin typeface="Poppins SemiBold" pitchFamily="2" charset="77"/>
                  <a:cs typeface="Poppins SemiBold" pitchFamily="2" charset="77"/>
                </a:rPr>
                <a:t>Inmediata</a:t>
              </a:r>
              <a:r>
                <a:rPr lang="es-ES" sz="1200" dirty="0"/>
                <a:t> a su </a:t>
              </a:r>
              <a:r>
                <a:rPr lang="es-ES" sz="1200" b="1" dirty="0">
                  <a:solidFill>
                    <a:schemeClr val="tx2"/>
                  </a:solidFill>
                  <a:latin typeface="Poppins SemiBold" pitchFamily="2" charset="77"/>
                  <a:cs typeface="Poppins SemiBold" pitchFamily="2" charset="77"/>
                </a:rPr>
                <a:t>Supervisor Operativo y/o SSO</a:t>
              </a:r>
              <a:r>
                <a:rPr lang="es-ES" sz="1200" dirty="0"/>
                <a:t>.</a:t>
              </a:r>
              <a:endParaRPr lang="en-US" sz="1200" dirty="0"/>
            </a:p>
          </p:txBody>
        </p:sp>
        <p:sp>
          <p:nvSpPr>
            <p:cNvPr id="40" name="Subtitle 2">
              <a:extLst>
                <a:ext uri="{FF2B5EF4-FFF2-40B4-BE49-F238E27FC236}">
                  <a16:creationId xmlns:a16="http://schemas.microsoft.com/office/drawing/2014/main" id="{71BBBA18-494D-6256-1F54-C03CA468DCEF}"/>
                </a:ext>
              </a:extLst>
            </p:cNvPr>
            <p:cNvSpPr txBox="1">
              <a:spLocks/>
            </p:cNvSpPr>
            <p:nvPr/>
          </p:nvSpPr>
          <p:spPr>
            <a:xfrm>
              <a:off x="2420746" y="4704798"/>
              <a:ext cx="1708927" cy="1015663"/>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2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b="1" dirty="0">
                  <a:solidFill>
                    <a:schemeClr val="tx2"/>
                  </a:solidFill>
                  <a:latin typeface="Poppins SemiBold" pitchFamily="2" charset="77"/>
                  <a:cs typeface="Poppins SemiBold" pitchFamily="2" charset="77"/>
                </a:rPr>
                <a:t>COMUNICAN</a:t>
              </a:r>
              <a:r>
                <a:rPr lang="es-ES" dirty="0"/>
                <a:t> de forma inmediata al Sup. Operativo de SMCV, Sup SSO y </a:t>
              </a:r>
              <a:r>
                <a:rPr lang="es-ES" dirty="0" err="1"/>
                <a:t>Admin</a:t>
              </a:r>
              <a:r>
                <a:rPr lang="es-ES" dirty="0"/>
                <a:t> de Contrato</a:t>
              </a:r>
              <a:endParaRPr lang="en-US" dirty="0"/>
            </a:p>
          </p:txBody>
        </p:sp>
        <p:sp>
          <p:nvSpPr>
            <p:cNvPr id="44" name="Subtitle 2">
              <a:extLst>
                <a:ext uri="{FF2B5EF4-FFF2-40B4-BE49-F238E27FC236}">
                  <a16:creationId xmlns:a16="http://schemas.microsoft.com/office/drawing/2014/main" id="{9F1A59CC-3ED1-2B2C-9854-BB44373C4FB1}"/>
                </a:ext>
              </a:extLst>
            </p:cNvPr>
            <p:cNvSpPr txBox="1">
              <a:spLocks/>
            </p:cNvSpPr>
            <p:nvPr/>
          </p:nvSpPr>
          <p:spPr>
            <a:xfrm>
              <a:off x="4169361" y="4094559"/>
              <a:ext cx="2033717" cy="646331"/>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Poppins SemiBold" pitchFamily="2" charset="77"/>
                  <a:cs typeface="Poppins SemiBold" pitchFamily="2" charset="77"/>
                </a:rPr>
                <a:t>ASEGURAN </a:t>
              </a:r>
              <a:r>
                <a:rPr lang="es-ES" sz="1200" dirty="0"/>
                <a:t>de forma inmediata el área donde sucedió el evento</a:t>
              </a:r>
              <a:endParaRPr lang="es-ES" sz="1200" b="1" dirty="0">
                <a:solidFill>
                  <a:schemeClr val="tx2"/>
                </a:solidFill>
                <a:latin typeface="Poppins SemiBold" pitchFamily="2" charset="77"/>
                <a:cs typeface="Poppins SemiBold" pitchFamily="2" charset="77"/>
              </a:endParaRPr>
            </a:p>
          </p:txBody>
        </p:sp>
        <p:sp>
          <p:nvSpPr>
            <p:cNvPr id="51" name="TextBox 50">
              <a:extLst>
                <a:ext uri="{FF2B5EF4-FFF2-40B4-BE49-F238E27FC236}">
                  <a16:creationId xmlns:a16="http://schemas.microsoft.com/office/drawing/2014/main" id="{627BB7DE-2334-90BE-8136-BC9237B8E533}"/>
                </a:ext>
              </a:extLst>
            </p:cNvPr>
            <p:cNvSpPr txBox="1"/>
            <p:nvPr/>
          </p:nvSpPr>
          <p:spPr>
            <a:xfrm rot="20789846">
              <a:off x="518254" y="2578777"/>
              <a:ext cx="1301177" cy="523220"/>
            </a:xfrm>
            <a:prstGeom prst="rect">
              <a:avLst/>
            </a:prstGeom>
            <a:noFill/>
          </p:spPr>
          <p:txBody>
            <a:bodyPr wrap="square" rtlCol="0" anchor="b" anchorCtr="0">
              <a:spAutoFit/>
            </a:bodyPr>
            <a:lstStyle/>
            <a:p>
              <a:pPr algn="ctr"/>
              <a:r>
                <a:rPr lang="en-US" sz="1400" b="1" dirty="0" err="1">
                  <a:solidFill>
                    <a:schemeClr val="bg1"/>
                  </a:solidFill>
                  <a:latin typeface="Poppins SemiBold" pitchFamily="2" charset="77"/>
                  <a:ea typeface="League Spartan" charset="0"/>
                  <a:cs typeface="Poppins SemiBold" pitchFamily="2" charset="77"/>
                </a:rPr>
                <a:t>Trabajador</a:t>
              </a:r>
              <a:r>
                <a:rPr lang="en-US" sz="1400" b="1" dirty="0">
                  <a:solidFill>
                    <a:schemeClr val="bg1"/>
                  </a:solidFill>
                  <a:latin typeface="Poppins SemiBold" pitchFamily="2" charset="77"/>
                  <a:ea typeface="League Spartan" charset="0"/>
                  <a:cs typeface="Poppins SemiBold" pitchFamily="2" charset="77"/>
                </a:rPr>
                <a:t> EECC</a:t>
              </a:r>
            </a:p>
          </p:txBody>
        </p:sp>
        <p:sp>
          <p:nvSpPr>
            <p:cNvPr id="52" name="TextBox 51">
              <a:extLst>
                <a:ext uri="{FF2B5EF4-FFF2-40B4-BE49-F238E27FC236}">
                  <a16:creationId xmlns:a16="http://schemas.microsoft.com/office/drawing/2014/main" id="{16306099-8AF2-BE8C-B8EA-0AEAA9CA72E2}"/>
                </a:ext>
              </a:extLst>
            </p:cNvPr>
            <p:cNvSpPr txBox="1"/>
            <p:nvPr/>
          </p:nvSpPr>
          <p:spPr>
            <a:xfrm>
              <a:off x="2477635" y="2345934"/>
              <a:ext cx="1301177" cy="646331"/>
            </a:xfrm>
            <a:prstGeom prst="rect">
              <a:avLst/>
            </a:prstGeom>
            <a:noFill/>
          </p:spPr>
          <p:txBody>
            <a:bodyPr wrap="square" rtlCol="0" anchor="b" anchorCtr="0">
              <a:spAutoFit/>
            </a:bodyPr>
            <a:lstStyle/>
            <a:p>
              <a:pPr algn="ctr"/>
              <a:r>
                <a:rPr lang="en-US" sz="1200" b="1" dirty="0">
                  <a:solidFill>
                    <a:schemeClr val="bg1"/>
                  </a:solidFill>
                  <a:latin typeface="Poppins SemiBold" pitchFamily="2" charset="77"/>
                  <a:ea typeface="League Spartan" charset="0"/>
                  <a:cs typeface="Poppins SemiBold" pitchFamily="2" charset="77"/>
                </a:rPr>
                <a:t>Supervisor </a:t>
              </a:r>
              <a:r>
                <a:rPr lang="en-US" sz="1200" b="1" dirty="0" err="1">
                  <a:solidFill>
                    <a:schemeClr val="bg1"/>
                  </a:solidFill>
                  <a:latin typeface="Poppins SemiBold" pitchFamily="2" charset="77"/>
                  <a:ea typeface="League Spartan" charset="0"/>
                  <a:cs typeface="Poppins SemiBold" pitchFamily="2" charset="77"/>
                </a:rPr>
                <a:t>Operativo</a:t>
              </a:r>
              <a:r>
                <a:rPr lang="en-US" sz="1200" b="1" dirty="0">
                  <a:solidFill>
                    <a:schemeClr val="bg1"/>
                  </a:solidFill>
                  <a:latin typeface="Poppins SemiBold" pitchFamily="2" charset="77"/>
                  <a:ea typeface="League Spartan" charset="0"/>
                  <a:cs typeface="Poppins SemiBold" pitchFamily="2" charset="77"/>
                </a:rPr>
                <a:t>/</a:t>
              </a:r>
            </a:p>
            <a:p>
              <a:pPr algn="ctr"/>
              <a:r>
                <a:rPr lang="en-US" sz="1200" b="1" dirty="0">
                  <a:solidFill>
                    <a:schemeClr val="bg1"/>
                  </a:solidFill>
                  <a:latin typeface="Poppins SemiBold" pitchFamily="2" charset="77"/>
                  <a:ea typeface="League Spartan" charset="0"/>
                  <a:cs typeface="Poppins SemiBold" pitchFamily="2" charset="77"/>
                </a:rPr>
                <a:t>SSO  de </a:t>
              </a:r>
              <a:r>
                <a:rPr lang="es-PE" sz="1200" b="1" dirty="0">
                  <a:solidFill>
                    <a:schemeClr val="bg1"/>
                  </a:solidFill>
                  <a:latin typeface="Poppins SemiBold" pitchFamily="2" charset="77"/>
                  <a:ea typeface="League Spartan" charset="0"/>
                  <a:cs typeface="Poppins SemiBold" pitchFamily="2" charset="77"/>
                </a:rPr>
                <a:t>EECC </a:t>
              </a:r>
              <a:endParaRPr lang="en-US" sz="1200" b="1" dirty="0">
                <a:solidFill>
                  <a:schemeClr val="bg1"/>
                </a:solidFill>
                <a:latin typeface="Poppins SemiBold" pitchFamily="2" charset="77"/>
                <a:cs typeface="Poppins SemiBold" pitchFamily="2" charset="77"/>
              </a:endParaRPr>
            </a:p>
          </p:txBody>
        </p:sp>
        <p:sp>
          <p:nvSpPr>
            <p:cNvPr id="53" name="TextBox 52">
              <a:extLst>
                <a:ext uri="{FF2B5EF4-FFF2-40B4-BE49-F238E27FC236}">
                  <a16:creationId xmlns:a16="http://schemas.microsoft.com/office/drawing/2014/main" id="{B75A62A0-0798-474C-8C86-37A69CF7DC25}"/>
                </a:ext>
              </a:extLst>
            </p:cNvPr>
            <p:cNvSpPr txBox="1"/>
            <p:nvPr/>
          </p:nvSpPr>
          <p:spPr>
            <a:xfrm rot="904574">
              <a:off x="4370596" y="2697837"/>
              <a:ext cx="1301177" cy="523220"/>
            </a:xfrm>
            <a:prstGeom prst="rect">
              <a:avLst/>
            </a:prstGeom>
            <a:noFill/>
          </p:spPr>
          <p:txBody>
            <a:bodyPr wrap="square" rtlCol="0" anchor="b" anchorCtr="0">
              <a:spAutoFit/>
            </a:bodyPr>
            <a:lstStyle/>
            <a:p>
              <a:pPr algn="ctr"/>
              <a:r>
                <a:rPr lang="en-US" sz="1400" b="1" dirty="0">
                  <a:solidFill>
                    <a:schemeClr val="bg1"/>
                  </a:solidFill>
                  <a:latin typeface="Poppins SemiBold" pitchFamily="2" charset="77"/>
                  <a:ea typeface="League Spartan" charset="0"/>
                  <a:cs typeface="Poppins SemiBold" pitchFamily="2" charset="77"/>
                </a:rPr>
                <a:t>SMCV / EECC</a:t>
              </a:r>
            </a:p>
          </p:txBody>
        </p:sp>
        <p:sp>
          <p:nvSpPr>
            <p:cNvPr id="54" name="TextBox 53">
              <a:extLst>
                <a:ext uri="{FF2B5EF4-FFF2-40B4-BE49-F238E27FC236}">
                  <a16:creationId xmlns:a16="http://schemas.microsoft.com/office/drawing/2014/main" id="{FD7040A8-52FC-7ACC-94B4-E281A6CC333E}"/>
                </a:ext>
              </a:extLst>
            </p:cNvPr>
            <p:cNvSpPr txBox="1"/>
            <p:nvPr/>
          </p:nvSpPr>
          <p:spPr>
            <a:xfrm rot="212230">
              <a:off x="6355685" y="2907540"/>
              <a:ext cx="1301177" cy="954107"/>
            </a:xfrm>
            <a:prstGeom prst="rect">
              <a:avLst/>
            </a:prstGeom>
            <a:noFill/>
          </p:spPr>
          <p:txBody>
            <a:bodyPr wrap="square" rtlCol="0" anchor="b" anchorCtr="0">
              <a:spAutoFit/>
            </a:bodyPr>
            <a:lstStyle/>
            <a:p>
              <a:pPr algn="ctr"/>
              <a:r>
                <a:rPr lang="en-US" sz="1400" b="1" dirty="0">
                  <a:solidFill>
                    <a:schemeClr val="bg1"/>
                  </a:solidFill>
                  <a:latin typeface="Poppins SemiBold" pitchFamily="2" charset="77"/>
                  <a:ea typeface="League Spartan" charset="0"/>
                  <a:cs typeface="Poppins SemiBold" pitchFamily="2" charset="77"/>
                </a:rPr>
                <a:t>Supervisor SSO y </a:t>
              </a:r>
              <a:r>
                <a:rPr lang="en-US" sz="1400" b="1" dirty="0" err="1">
                  <a:solidFill>
                    <a:schemeClr val="bg1"/>
                  </a:solidFill>
                  <a:latin typeface="Poppins SemiBold" pitchFamily="2" charset="77"/>
                  <a:ea typeface="League Spartan" charset="0"/>
                  <a:cs typeface="Poppins SemiBold" pitchFamily="2" charset="77"/>
                </a:rPr>
                <a:t>Operativo</a:t>
              </a:r>
              <a:r>
                <a:rPr lang="en-US" sz="1400" b="1" dirty="0">
                  <a:solidFill>
                    <a:schemeClr val="bg1"/>
                  </a:solidFill>
                  <a:latin typeface="Poppins SemiBold" pitchFamily="2" charset="77"/>
                  <a:ea typeface="League Spartan" charset="0"/>
                  <a:cs typeface="Poppins SemiBold" pitchFamily="2" charset="77"/>
                </a:rPr>
                <a:t> de EECC</a:t>
              </a:r>
            </a:p>
          </p:txBody>
        </p:sp>
        <p:sp>
          <p:nvSpPr>
            <p:cNvPr id="55" name="Subtitle 2">
              <a:extLst>
                <a:ext uri="{FF2B5EF4-FFF2-40B4-BE49-F238E27FC236}">
                  <a16:creationId xmlns:a16="http://schemas.microsoft.com/office/drawing/2014/main" id="{1019E983-20A5-AD99-AC14-8A2A5108E089}"/>
                </a:ext>
              </a:extLst>
            </p:cNvPr>
            <p:cNvSpPr txBox="1">
              <a:spLocks/>
            </p:cNvSpPr>
            <p:nvPr/>
          </p:nvSpPr>
          <p:spPr>
            <a:xfrm>
              <a:off x="6035850" y="5369307"/>
              <a:ext cx="2033717" cy="830997"/>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Poppins SemiBold" pitchFamily="2" charset="77"/>
                  <a:cs typeface="Poppins SemiBold" pitchFamily="2" charset="77"/>
                </a:rPr>
                <a:t>RECOPILAN </a:t>
              </a:r>
              <a:r>
                <a:rPr lang="es-ES" sz="1200" dirty="0"/>
                <a:t>información del evento y </a:t>
              </a:r>
              <a:r>
                <a:rPr lang="es-ES" sz="1200" b="1" dirty="0">
                  <a:solidFill>
                    <a:schemeClr val="tx2"/>
                  </a:solidFill>
                  <a:latin typeface="Poppins SemiBold" pitchFamily="2" charset="77"/>
                  <a:cs typeface="Poppins SemiBold" pitchFamily="2" charset="77"/>
                </a:rPr>
                <a:t>COMPLETAN </a:t>
              </a:r>
              <a:r>
                <a:rPr lang="es-ES" sz="1200" dirty="0"/>
                <a:t>el formato de Notificación Preliminar.</a:t>
              </a:r>
              <a:endParaRPr lang="en-US" sz="1200" b="1" dirty="0">
                <a:solidFill>
                  <a:schemeClr val="tx2"/>
                </a:solidFill>
                <a:latin typeface="Poppins SemiBold" pitchFamily="2" charset="77"/>
                <a:cs typeface="Poppins SemiBold" pitchFamily="2" charset="77"/>
              </a:endParaRPr>
            </a:p>
          </p:txBody>
        </p:sp>
        <p:sp>
          <p:nvSpPr>
            <p:cNvPr id="56" name="TextBox 55">
              <a:extLst>
                <a:ext uri="{FF2B5EF4-FFF2-40B4-BE49-F238E27FC236}">
                  <a16:creationId xmlns:a16="http://schemas.microsoft.com/office/drawing/2014/main" id="{5043372B-3B67-2CB3-F123-7BEC6C6E798D}"/>
                </a:ext>
              </a:extLst>
            </p:cNvPr>
            <p:cNvSpPr txBox="1"/>
            <p:nvPr/>
          </p:nvSpPr>
          <p:spPr>
            <a:xfrm rot="20805402">
              <a:off x="8211831" y="3029199"/>
              <a:ext cx="1301177" cy="307777"/>
            </a:xfrm>
            <a:prstGeom prst="rect">
              <a:avLst/>
            </a:prstGeom>
            <a:noFill/>
          </p:spPr>
          <p:txBody>
            <a:bodyPr wrap="square" rtlCol="0" anchor="b" anchorCtr="0">
              <a:spAutoFit/>
            </a:bodyPr>
            <a:lstStyle/>
            <a:p>
              <a:pPr algn="ctr"/>
              <a:r>
                <a:rPr lang="en-US" sz="1400" b="1" dirty="0">
                  <a:solidFill>
                    <a:schemeClr val="bg1"/>
                  </a:solidFill>
                  <a:latin typeface="Poppins SemiBold" pitchFamily="2" charset="77"/>
                  <a:ea typeface="League Spartan" charset="0"/>
                  <a:cs typeface="Poppins SemiBold" pitchFamily="2" charset="77"/>
                </a:rPr>
                <a:t>EECC</a:t>
              </a:r>
            </a:p>
          </p:txBody>
        </p:sp>
        <p:sp>
          <p:nvSpPr>
            <p:cNvPr id="57" name="Subtitle 2">
              <a:extLst>
                <a:ext uri="{FF2B5EF4-FFF2-40B4-BE49-F238E27FC236}">
                  <a16:creationId xmlns:a16="http://schemas.microsoft.com/office/drawing/2014/main" id="{E3F33414-B2CD-302F-6C48-584AE47BFF4E}"/>
                </a:ext>
              </a:extLst>
            </p:cNvPr>
            <p:cNvSpPr txBox="1">
              <a:spLocks/>
            </p:cNvSpPr>
            <p:nvPr/>
          </p:nvSpPr>
          <p:spPr>
            <a:xfrm>
              <a:off x="8004823" y="4263583"/>
              <a:ext cx="2033717" cy="646331"/>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dirty="0"/>
                <a:t>En equipo </a:t>
              </a:r>
              <a:r>
                <a:rPr lang="es-ES" sz="1200" b="1" dirty="0">
                  <a:solidFill>
                    <a:schemeClr val="tx2"/>
                  </a:solidFill>
                  <a:latin typeface="Poppins SemiBold" pitchFamily="2" charset="77"/>
                  <a:cs typeface="Poppins SemiBold" pitchFamily="2" charset="77"/>
                </a:rPr>
                <a:t>REALIZA</a:t>
              </a:r>
              <a:r>
                <a:rPr lang="es-ES" sz="1200" dirty="0"/>
                <a:t> análisis causa raíz y propone planes de acción.</a:t>
              </a:r>
              <a:endParaRPr lang="en-US" sz="1200" dirty="0"/>
            </a:p>
          </p:txBody>
        </p:sp>
        <p:sp>
          <p:nvSpPr>
            <p:cNvPr id="58" name="TextBox 57">
              <a:extLst>
                <a:ext uri="{FF2B5EF4-FFF2-40B4-BE49-F238E27FC236}">
                  <a16:creationId xmlns:a16="http://schemas.microsoft.com/office/drawing/2014/main" id="{90720B68-3D72-E271-AF65-6D164DD071C8}"/>
                </a:ext>
              </a:extLst>
            </p:cNvPr>
            <p:cNvSpPr txBox="1"/>
            <p:nvPr/>
          </p:nvSpPr>
          <p:spPr>
            <a:xfrm rot="19521062">
              <a:off x="9771841" y="1958625"/>
              <a:ext cx="1545896" cy="646331"/>
            </a:xfrm>
            <a:prstGeom prst="rect">
              <a:avLst/>
            </a:prstGeom>
            <a:noFill/>
          </p:spPr>
          <p:txBody>
            <a:bodyPr wrap="square" rtlCol="0" anchor="b" anchorCtr="0">
              <a:spAutoFit/>
            </a:bodyPr>
            <a:lstStyle/>
            <a:p>
              <a:pPr algn="ctr"/>
              <a:r>
                <a:rPr lang="en-US" sz="1200" b="1" dirty="0">
                  <a:solidFill>
                    <a:schemeClr val="bg1"/>
                  </a:solidFill>
                  <a:latin typeface="Poppins SemiBold" pitchFamily="2" charset="77"/>
                  <a:ea typeface="League Spartan" charset="0"/>
                  <a:cs typeface="Poppins SemiBold" pitchFamily="2" charset="77"/>
                </a:rPr>
                <a:t>Admin de </a:t>
              </a:r>
              <a:r>
                <a:rPr lang="en-US" sz="1200" b="1" dirty="0" err="1">
                  <a:solidFill>
                    <a:schemeClr val="bg1"/>
                  </a:solidFill>
                  <a:latin typeface="Poppins SemiBold" pitchFamily="2" charset="77"/>
                  <a:ea typeface="League Spartan" charset="0"/>
                  <a:cs typeface="Poppins SemiBold" pitchFamily="2" charset="77"/>
                </a:rPr>
                <a:t>Contrato</a:t>
              </a:r>
              <a:r>
                <a:rPr lang="en-US" sz="1200" b="1" dirty="0">
                  <a:solidFill>
                    <a:schemeClr val="bg1"/>
                  </a:solidFill>
                  <a:latin typeface="Poppins SemiBold" pitchFamily="2" charset="77"/>
                  <a:ea typeface="League Spartan" charset="0"/>
                  <a:cs typeface="Poppins SemiBold" pitchFamily="2" charset="77"/>
                </a:rPr>
                <a:t> y </a:t>
              </a:r>
              <a:r>
                <a:rPr lang="en-US" sz="1200" b="1" dirty="0" err="1">
                  <a:solidFill>
                    <a:schemeClr val="bg1"/>
                  </a:solidFill>
                  <a:latin typeface="Poppins SemiBold" pitchFamily="2" charset="77"/>
                  <a:ea typeface="League Spartan" charset="0"/>
                  <a:cs typeface="Poppins SemiBold" pitchFamily="2" charset="77"/>
                </a:rPr>
                <a:t>Área</a:t>
              </a:r>
              <a:r>
                <a:rPr lang="en-US" sz="1200" b="1" dirty="0">
                  <a:solidFill>
                    <a:schemeClr val="bg1"/>
                  </a:solidFill>
                  <a:latin typeface="Poppins SemiBold" pitchFamily="2" charset="77"/>
                  <a:ea typeface="League Spartan" charset="0"/>
                  <a:cs typeface="Poppins SemiBold" pitchFamily="2" charset="77"/>
                </a:rPr>
                <a:t> </a:t>
              </a:r>
              <a:r>
                <a:rPr lang="en-US" sz="1200" b="1" dirty="0" err="1">
                  <a:solidFill>
                    <a:schemeClr val="bg1"/>
                  </a:solidFill>
                  <a:latin typeface="Poppins SemiBold" pitchFamily="2" charset="77"/>
                  <a:ea typeface="League Spartan" charset="0"/>
                  <a:cs typeface="Poppins SemiBold" pitchFamily="2" charset="77"/>
                </a:rPr>
                <a:t>usuaria</a:t>
              </a:r>
              <a:r>
                <a:rPr lang="en-US" sz="1200" b="1" dirty="0">
                  <a:solidFill>
                    <a:schemeClr val="bg1"/>
                  </a:solidFill>
                  <a:latin typeface="Poppins SemiBold" pitchFamily="2" charset="77"/>
                  <a:ea typeface="League Spartan" charset="0"/>
                  <a:cs typeface="Poppins SemiBold" pitchFamily="2" charset="77"/>
                </a:rPr>
                <a:t> /  SSO</a:t>
              </a:r>
            </a:p>
          </p:txBody>
        </p:sp>
        <p:sp>
          <p:nvSpPr>
            <p:cNvPr id="59" name="Subtitle 2">
              <a:extLst>
                <a:ext uri="{FF2B5EF4-FFF2-40B4-BE49-F238E27FC236}">
                  <a16:creationId xmlns:a16="http://schemas.microsoft.com/office/drawing/2014/main" id="{F8EA8828-FCDB-669F-3299-030E554C4034}"/>
                </a:ext>
              </a:extLst>
            </p:cNvPr>
            <p:cNvSpPr txBox="1">
              <a:spLocks/>
            </p:cNvSpPr>
            <p:nvPr/>
          </p:nvSpPr>
          <p:spPr>
            <a:xfrm>
              <a:off x="10060977" y="4773930"/>
              <a:ext cx="1774735" cy="1015663"/>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Poppins SemiBold" pitchFamily="2" charset="77"/>
                  <a:cs typeface="Poppins SemiBold" pitchFamily="2" charset="77"/>
                </a:rPr>
                <a:t>REALIZA EL SEGUIMIENTO Y CIERRE </a:t>
              </a:r>
              <a:r>
                <a:rPr lang="es-ES" sz="1200" dirty="0"/>
                <a:t>del informe de investigación y planes de acción.</a:t>
              </a:r>
              <a:endParaRPr lang="en-US" sz="1200" b="1" dirty="0">
                <a:solidFill>
                  <a:schemeClr val="tx2"/>
                </a:solidFill>
                <a:latin typeface="Poppins SemiBold" pitchFamily="2" charset="77"/>
                <a:cs typeface="Poppins SemiBold" pitchFamily="2" charset="77"/>
              </a:endParaRPr>
            </a:p>
          </p:txBody>
        </p:sp>
        <p:sp>
          <p:nvSpPr>
            <p:cNvPr id="61" name="TextBox 60">
              <a:extLst>
                <a:ext uri="{FF2B5EF4-FFF2-40B4-BE49-F238E27FC236}">
                  <a16:creationId xmlns:a16="http://schemas.microsoft.com/office/drawing/2014/main" id="{CCF7F9B1-AE89-BB59-A4B6-B987D59D5B52}"/>
                </a:ext>
              </a:extLst>
            </p:cNvPr>
            <p:cNvSpPr txBox="1"/>
            <p:nvPr/>
          </p:nvSpPr>
          <p:spPr>
            <a:xfrm>
              <a:off x="766219" y="2100605"/>
              <a:ext cx="441471" cy="369332"/>
            </a:xfrm>
            <a:prstGeom prst="rect">
              <a:avLst/>
            </a:prstGeom>
            <a:noFill/>
          </p:spPr>
          <p:txBody>
            <a:bodyPr wrap="square">
              <a:spAutoFit/>
            </a:bodyPr>
            <a:lstStyle/>
            <a:p>
              <a:r>
                <a:rPr lang="en-US" b="1" dirty="0">
                  <a:solidFill>
                    <a:schemeClr val="tx2"/>
                  </a:solidFill>
                  <a:latin typeface="Poppins SemiBold" pitchFamily="2" charset="77"/>
                  <a:cs typeface="Poppins SemiBold" pitchFamily="2" charset="77"/>
                </a:rPr>
                <a:t>01</a:t>
              </a:r>
              <a:endParaRPr lang="en-US" dirty="0"/>
            </a:p>
          </p:txBody>
        </p:sp>
        <p:sp>
          <p:nvSpPr>
            <p:cNvPr id="62" name="TextBox 61">
              <a:extLst>
                <a:ext uri="{FF2B5EF4-FFF2-40B4-BE49-F238E27FC236}">
                  <a16:creationId xmlns:a16="http://schemas.microsoft.com/office/drawing/2014/main" id="{90014715-996C-8C74-CFE7-1A6D398B13DE}"/>
                </a:ext>
              </a:extLst>
            </p:cNvPr>
            <p:cNvSpPr txBox="1"/>
            <p:nvPr/>
          </p:nvSpPr>
          <p:spPr>
            <a:xfrm>
              <a:off x="2899155" y="1886533"/>
              <a:ext cx="522075" cy="369332"/>
            </a:xfrm>
            <a:prstGeom prst="rect">
              <a:avLst/>
            </a:prstGeom>
            <a:noFill/>
          </p:spPr>
          <p:txBody>
            <a:bodyPr wrap="square">
              <a:spAutoFit/>
            </a:bodyPr>
            <a:lstStyle/>
            <a:p>
              <a:r>
                <a:rPr lang="en-US" b="1" dirty="0">
                  <a:solidFill>
                    <a:schemeClr val="tx2"/>
                  </a:solidFill>
                  <a:latin typeface="Poppins SemiBold" pitchFamily="2" charset="77"/>
                  <a:cs typeface="Poppins SemiBold" pitchFamily="2" charset="77"/>
                </a:rPr>
                <a:t>02</a:t>
              </a:r>
              <a:endParaRPr lang="en-US" dirty="0"/>
            </a:p>
          </p:txBody>
        </p:sp>
        <p:sp>
          <p:nvSpPr>
            <p:cNvPr id="63" name="TextBox 62">
              <a:extLst>
                <a:ext uri="{FF2B5EF4-FFF2-40B4-BE49-F238E27FC236}">
                  <a16:creationId xmlns:a16="http://schemas.microsoft.com/office/drawing/2014/main" id="{D2DCBE87-C22C-572D-2ED1-DD84D31048F7}"/>
                </a:ext>
              </a:extLst>
            </p:cNvPr>
            <p:cNvSpPr txBox="1"/>
            <p:nvPr/>
          </p:nvSpPr>
          <p:spPr>
            <a:xfrm rot="1269317">
              <a:off x="4989099" y="2248266"/>
              <a:ext cx="522075" cy="369332"/>
            </a:xfrm>
            <a:prstGeom prst="rect">
              <a:avLst/>
            </a:prstGeom>
            <a:noFill/>
          </p:spPr>
          <p:txBody>
            <a:bodyPr wrap="square">
              <a:spAutoFit/>
            </a:bodyPr>
            <a:lstStyle/>
            <a:p>
              <a:r>
                <a:rPr lang="en-US" b="1" dirty="0">
                  <a:solidFill>
                    <a:schemeClr val="tx2"/>
                  </a:solidFill>
                  <a:latin typeface="Poppins SemiBold" pitchFamily="2" charset="77"/>
                  <a:cs typeface="Poppins SemiBold" pitchFamily="2" charset="77"/>
                </a:rPr>
                <a:t>03</a:t>
              </a:r>
              <a:endParaRPr lang="en-US" dirty="0"/>
            </a:p>
          </p:txBody>
        </p:sp>
        <p:sp>
          <p:nvSpPr>
            <p:cNvPr id="64" name="TextBox 63">
              <a:extLst>
                <a:ext uri="{FF2B5EF4-FFF2-40B4-BE49-F238E27FC236}">
                  <a16:creationId xmlns:a16="http://schemas.microsoft.com/office/drawing/2014/main" id="{3EE3A111-E2B0-BF99-3272-41BD2BB6848B}"/>
                </a:ext>
              </a:extLst>
            </p:cNvPr>
            <p:cNvSpPr txBox="1"/>
            <p:nvPr/>
          </p:nvSpPr>
          <p:spPr>
            <a:xfrm rot="21436186">
              <a:off x="6738068" y="2658999"/>
              <a:ext cx="522075" cy="369332"/>
            </a:xfrm>
            <a:prstGeom prst="rect">
              <a:avLst/>
            </a:prstGeom>
            <a:noFill/>
          </p:spPr>
          <p:txBody>
            <a:bodyPr wrap="square">
              <a:spAutoFit/>
            </a:bodyPr>
            <a:lstStyle/>
            <a:p>
              <a:r>
                <a:rPr lang="en-US" b="1" dirty="0">
                  <a:solidFill>
                    <a:schemeClr val="tx2"/>
                  </a:solidFill>
                  <a:latin typeface="Poppins SemiBold" pitchFamily="2" charset="77"/>
                  <a:cs typeface="Poppins SemiBold" pitchFamily="2" charset="77"/>
                </a:rPr>
                <a:t>04</a:t>
              </a:r>
              <a:endParaRPr lang="en-US" dirty="0"/>
            </a:p>
          </p:txBody>
        </p:sp>
        <p:sp>
          <p:nvSpPr>
            <p:cNvPr id="65" name="TextBox 64">
              <a:extLst>
                <a:ext uri="{FF2B5EF4-FFF2-40B4-BE49-F238E27FC236}">
                  <a16:creationId xmlns:a16="http://schemas.microsoft.com/office/drawing/2014/main" id="{2D1D9CB0-591B-D175-247B-7AA806134954}"/>
                </a:ext>
              </a:extLst>
            </p:cNvPr>
            <p:cNvSpPr txBox="1"/>
            <p:nvPr/>
          </p:nvSpPr>
          <p:spPr>
            <a:xfrm rot="20419467">
              <a:off x="8422191" y="2490020"/>
              <a:ext cx="522075" cy="369332"/>
            </a:xfrm>
            <a:prstGeom prst="rect">
              <a:avLst/>
            </a:prstGeom>
            <a:noFill/>
          </p:spPr>
          <p:txBody>
            <a:bodyPr wrap="square">
              <a:spAutoFit/>
            </a:bodyPr>
            <a:lstStyle/>
            <a:p>
              <a:r>
                <a:rPr lang="en-US" b="1" dirty="0">
                  <a:solidFill>
                    <a:schemeClr val="tx2"/>
                  </a:solidFill>
                  <a:latin typeface="Poppins SemiBold" pitchFamily="2" charset="77"/>
                  <a:cs typeface="Poppins SemiBold" pitchFamily="2" charset="77"/>
                </a:rPr>
                <a:t>05</a:t>
              </a:r>
              <a:endParaRPr lang="en-US" dirty="0"/>
            </a:p>
          </p:txBody>
        </p:sp>
        <p:sp>
          <p:nvSpPr>
            <p:cNvPr id="66" name="TextBox 65">
              <a:extLst>
                <a:ext uri="{FF2B5EF4-FFF2-40B4-BE49-F238E27FC236}">
                  <a16:creationId xmlns:a16="http://schemas.microsoft.com/office/drawing/2014/main" id="{CBC90BE3-8160-15CB-314A-1BEC1650BEEF}"/>
                </a:ext>
              </a:extLst>
            </p:cNvPr>
            <p:cNvSpPr txBox="1"/>
            <p:nvPr/>
          </p:nvSpPr>
          <p:spPr>
            <a:xfrm rot="20419467">
              <a:off x="9881091" y="1742271"/>
              <a:ext cx="522075" cy="369332"/>
            </a:xfrm>
            <a:prstGeom prst="rect">
              <a:avLst/>
            </a:prstGeom>
            <a:noFill/>
          </p:spPr>
          <p:txBody>
            <a:bodyPr wrap="square">
              <a:spAutoFit/>
            </a:bodyPr>
            <a:lstStyle/>
            <a:p>
              <a:r>
                <a:rPr lang="en-US" b="1" dirty="0">
                  <a:solidFill>
                    <a:schemeClr val="tx2"/>
                  </a:solidFill>
                  <a:latin typeface="Poppins SemiBold" pitchFamily="2" charset="77"/>
                  <a:cs typeface="Poppins SemiBold" pitchFamily="2" charset="77"/>
                </a:rPr>
                <a:t>06</a:t>
              </a:r>
              <a:endParaRPr lang="en-US" dirty="0"/>
            </a:p>
          </p:txBody>
        </p:sp>
      </p:grpSp>
      <p:sp>
        <p:nvSpPr>
          <p:cNvPr id="3" name="TextBox 2">
            <a:extLst>
              <a:ext uri="{FF2B5EF4-FFF2-40B4-BE49-F238E27FC236}">
                <a16:creationId xmlns:a16="http://schemas.microsoft.com/office/drawing/2014/main" id="{0CF3FF77-CCAB-70CD-270D-0D9EF137C0B0}"/>
              </a:ext>
            </a:extLst>
          </p:cNvPr>
          <p:cNvSpPr txBox="1"/>
          <p:nvPr/>
        </p:nvSpPr>
        <p:spPr>
          <a:xfrm>
            <a:off x="3476035" y="1270724"/>
            <a:ext cx="5685996" cy="584775"/>
          </a:xfrm>
          <a:prstGeom prst="rect">
            <a:avLst/>
          </a:prstGeom>
          <a:noFill/>
        </p:spPr>
        <p:txBody>
          <a:bodyPr wrap="square" rtlCol="0">
            <a:spAutoFit/>
          </a:bodyPr>
          <a:lstStyle/>
          <a:p>
            <a:pPr algn="ctr"/>
            <a:r>
              <a:rPr lang="es-PE"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t>Procedimiento: SSOpr0004 Reporte y Análisis de Incidentes</a:t>
            </a:r>
          </a:p>
        </p:txBody>
      </p:sp>
      <p:sp>
        <p:nvSpPr>
          <p:cNvPr id="4" name="TextBox 3">
            <a:extLst>
              <a:ext uri="{FF2B5EF4-FFF2-40B4-BE49-F238E27FC236}">
                <a16:creationId xmlns:a16="http://schemas.microsoft.com/office/drawing/2014/main" id="{B34901C4-C4E5-0622-A100-C9E34BB99F1C}"/>
              </a:ext>
            </a:extLst>
          </p:cNvPr>
          <p:cNvSpPr txBox="1"/>
          <p:nvPr/>
        </p:nvSpPr>
        <p:spPr>
          <a:xfrm>
            <a:off x="27437" y="6329822"/>
            <a:ext cx="7241205" cy="369332"/>
          </a:xfrm>
          <a:prstGeom prst="rect">
            <a:avLst/>
          </a:prstGeom>
          <a:noFill/>
        </p:spPr>
        <p:txBody>
          <a:bodyPr wrap="square" rtlCol="0">
            <a:spAutoFit/>
          </a:bodyPr>
          <a:lstStyle/>
          <a:p>
            <a:r>
              <a:rPr lang="es-PE" dirty="0">
                <a:solidFill>
                  <a:schemeClr val="tx2"/>
                </a:solidFill>
                <a:hlinkClick r:id="rId3"/>
              </a:rPr>
              <a:t>Revisar Procedimiento de Investigación de Incidentes  en </a:t>
            </a:r>
            <a:r>
              <a:rPr lang="es-PE" dirty="0" err="1">
                <a:solidFill>
                  <a:schemeClr val="tx2"/>
                </a:solidFill>
                <a:hlinkClick r:id="rId3"/>
              </a:rPr>
              <a:t>Public</a:t>
            </a:r>
            <a:r>
              <a:rPr lang="es-PE" dirty="0">
                <a:solidFill>
                  <a:schemeClr val="tx2"/>
                </a:solidFill>
                <a:hlinkClick r:id="rId3"/>
              </a:rPr>
              <a:t> Site</a:t>
            </a:r>
            <a:endParaRPr lang="es-PE" dirty="0">
              <a:solidFill>
                <a:schemeClr val="tx2"/>
              </a:solidFill>
            </a:endParaRPr>
          </a:p>
        </p:txBody>
      </p:sp>
    </p:spTree>
    <p:extLst>
      <p:ext uri="{BB962C8B-B14F-4D97-AF65-F5344CB8AC3E}">
        <p14:creationId xmlns:p14="http://schemas.microsoft.com/office/powerpoint/2010/main" val="23616977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63E11-F3CC-18C3-E0AA-94D89D53A965}"/>
              </a:ext>
            </a:extLst>
          </p:cNvPr>
          <p:cNvSpPr txBox="1">
            <a:spLocks noChangeArrowheads="1"/>
          </p:cNvSpPr>
          <p:nvPr/>
        </p:nvSpPr>
        <p:spPr>
          <a:xfrm>
            <a:off x="461139" y="2479675"/>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rPr>
              <a:t>REPORTE DE EMERGENCIAS</a:t>
            </a:r>
            <a:endParaRPr lang="en-US" altLang="en-US" sz="2800" dirty="0">
              <a:solidFill>
                <a:schemeClr val="bg1"/>
              </a:solidFill>
            </a:endParaRPr>
          </a:p>
        </p:txBody>
      </p:sp>
      <p:sp>
        <p:nvSpPr>
          <p:cNvPr id="4" name="Subtitle 2">
            <a:extLst>
              <a:ext uri="{FF2B5EF4-FFF2-40B4-BE49-F238E27FC236}">
                <a16:creationId xmlns:a16="http://schemas.microsoft.com/office/drawing/2014/main" id="{00263C98-E602-FF2F-73CD-3834C4FA2869}"/>
              </a:ext>
            </a:extLst>
          </p:cNvPr>
          <p:cNvSpPr txBox="1">
            <a:spLocks noChangeArrowheads="1"/>
          </p:cNvSpPr>
          <p:nvPr/>
        </p:nvSpPr>
        <p:spPr bwMode="auto">
          <a:xfrm>
            <a:off x="461139" y="4314825"/>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BB5D00"/>
              </a:buClr>
              <a:buSzPct val="11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a:lnSpc>
                <a:spcPct val="90000"/>
              </a:lnSpc>
              <a:spcBef>
                <a:spcPts val="500"/>
              </a:spcBef>
              <a:buClr>
                <a:srgbClr val="DF572A"/>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a:lnSpc>
                <a:spcPct val="90000"/>
              </a:lnSpc>
              <a:spcBef>
                <a:spcPts val="500"/>
              </a:spcBef>
              <a:buClr>
                <a:srgbClr val="DF572A"/>
              </a:buClr>
              <a:buSzPct val="800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a:lnSpc>
                <a:spcPct val="90000"/>
              </a:lnSpc>
              <a:spcBef>
                <a:spcPts val="500"/>
              </a:spcBef>
              <a:buClr>
                <a:srgbClr val="DF572A"/>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a:lnSpc>
                <a:spcPct val="90000"/>
              </a:lnSpc>
              <a:spcBef>
                <a:spcPts val="500"/>
              </a:spcBef>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5pPr>
            <a:lvl6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6pPr>
            <a:lvl7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7pPr>
            <a:lvl8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8pPr>
            <a:lvl9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endParaRPr lang="en-US" altLang="en-US" sz="1800" dirty="0">
              <a:solidFill>
                <a:schemeClr val="bg1"/>
              </a:solidFill>
              <a:latin typeface="+mj-lt"/>
            </a:endParaRPr>
          </a:p>
        </p:txBody>
      </p:sp>
    </p:spTree>
    <p:extLst>
      <p:ext uri="{BB962C8B-B14F-4D97-AF65-F5344CB8AC3E}">
        <p14:creationId xmlns:p14="http://schemas.microsoft.com/office/powerpoint/2010/main" val="14763252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92387E-268B-9A1F-489C-1C5F9CFE8940}"/>
              </a:ext>
            </a:extLst>
          </p:cNvPr>
          <p:cNvSpPr>
            <a:spLocks noGrp="1"/>
          </p:cNvSpPr>
          <p:nvPr>
            <p:ph type="title"/>
          </p:nvPr>
        </p:nvSpPr>
        <p:spPr>
          <a:xfrm>
            <a:off x="529241" y="325229"/>
            <a:ext cx="8779076" cy="607555"/>
          </a:xfrm>
        </p:spPr>
        <p:txBody>
          <a:bodyPr vert="horz" lIns="91440" tIns="45720" rIns="91440" bIns="45720" rtlCol="0" anchor="ctr">
            <a:noAutofit/>
          </a:bodyPr>
          <a:lstStyle/>
          <a:p>
            <a:r>
              <a:rPr lang="en-US" dirty="0"/>
              <a:t>¿</a:t>
            </a:r>
            <a:r>
              <a:rPr lang="en-US" dirty="0" err="1"/>
              <a:t>Cómo</a:t>
            </a:r>
            <a:r>
              <a:rPr lang="en-US" dirty="0"/>
              <a:t> </a:t>
            </a:r>
            <a:r>
              <a:rPr lang="en-US" dirty="0" err="1"/>
              <a:t>reportar</a:t>
            </a:r>
            <a:r>
              <a:rPr lang="en-US" dirty="0"/>
              <a:t> </a:t>
            </a:r>
            <a:r>
              <a:rPr lang="en-US" dirty="0" err="1"/>
              <a:t>una</a:t>
            </a:r>
            <a:r>
              <a:rPr lang="en-US" dirty="0"/>
              <a:t> </a:t>
            </a:r>
            <a:r>
              <a:rPr lang="en-US" dirty="0" err="1"/>
              <a:t>Emergencia</a:t>
            </a:r>
            <a:r>
              <a:rPr lang="en-US" dirty="0"/>
              <a:t>?</a:t>
            </a:r>
          </a:p>
        </p:txBody>
      </p:sp>
      <p:sp>
        <p:nvSpPr>
          <p:cNvPr id="2" name="Rectangle: Rounded Corners 1">
            <a:extLst>
              <a:ext uri="{FF2B5EF4-FFF2-40B4-BE49-F238E27FC236}">
                <a16:creationId xmlns:a16="http://schemas.microsoft.com/office/drawing/2014/main" id="{D49B20A6-D3D9-BE34-D069-9E4F59E4E673}"/>
              </a:ext>
            </a:extLst>
          </p:cNvPr>
          <p:cNvSpPr/>
          <p:nvPr/>
        </p:nvSpPr>
        <p:spPr>
          <a:xfrm>
            <a:off x="4359487" y="1300656"/>
            <a:ext cx="3987798" cy="374571"/>
          </a:xfrm>
          <a:prstGeom prst="roundRect">
            <a:avLst/>
          </a:prstGeom>
          <a:solidFill>
            <a:srgbClr val="C68B69"/>
          </a:solidFill>
          <a:ln>
            <a:solidFill>
              <a:srgbClr val="C68B69"/>
            </a:solidFill>
          </a:ln>
        </p:spPr>
        <p:txBody>
          <a:bodyPr wrap="square" rtlCol="0">
            <a:spAutoFit/>
          </a:bodyPr>
          <a:lstStyle/>
          <a:p>
            <a:pPr algn="ctr"/>
            <a:r>
              <a:rPr lang="es-PE" sz="1600" dirty="0">
                <a:solidFill>
                  <a:schemeClr val="bg1"/>
                </a:solidFill>
                <a:latin typeface="Poppins SemiBold" panose="00000700000000000000" pitchFamily="2" charset="0"/>
                <a:ea typeface="Open Sans" panose="020F0502020204030204" pitchFamily="34" charset="0"/>
                <a:cs typeface="Poppins SemiBold" panose="00000700000000000000" pitchFamily="2" charset="0"/>
              </a:rPr>
              <a:t>Vía Radial (Sistema Troncalizado)</a:t>
            </a:r>
            <a:endParaRPr lang="en-US" sz="1600" dirty="0">
              <a:solidFill>
                <a:schemeClr val="bg1"/>
              </a:solidFill>
              <a:latin typeface="Poppins SemiBold" panose="00000700000000000000" pitchFamily="2" charset="0"/>
              <a:ea typeface="Open Sans" panose="020F0502020204030204" pitchFamily="34" charset="0"/>
              <a:cs typeface="Poppins SemiBold" panose="00000700000000000000" pitchFamily="2" charset="0"/>
            </a:endParaRPr>
          </a:p>
        </p:txBody>
      </p:sp>
      <p:sp>
        <p:nvSpPr>
          <p:cNvPr id="4" name="Rectangle: Rounded Corners 3">
            <a:extLst>
              <a:ext uri="{FF2B5EF4-FFF2-40B4-BE49-F238E27FC236}">
                <a16:creationId xmlns:a16="http://schemas.microsoft.com/office/drawing/2014/main" id="{909650AF-A1D0-3613-5C45-6DF2940733C1}"/>
              </a:ext>
            </a:extLst>
          </p:cNvPr>
          <p:cNvSpPr/>
          <p:nvPr/>
        </p:nvSpPr>
        <p:spPr>
          <a:xfrm>
            <a:off x="8751341" y="3417727"/>
            <a:ext cx="2796820" cy="374571"/>
          </a:xfrm>
          <a:prstGeom prst="roundRect">
            <a:avLst/>
          </a:prstGeom>
          <a:solidFill>
            <a:srgbClr val="C68B69"/>
          </a:solidFill>
          <a:ln>
            <a:solidFill>
              <a:srgbClr val="C68B69"/>
            </a:solidFill>
          </a:ln>
        </p:spPr>
        <p:txBody>
          <a:bodyPr wrap="square" rtlCol="0">
            <a:spAutoFit/>
          </a:bodyPr>
          <a:lstStyle/>
          <a:p>
            <a:pPr algn="ctr"/>
            <a:r>
              <a:rPr lang="es-PE" sz="1600" dirty="0">
                <a:solidFill>
                  <a:schemeClr val="bg1"/>
                </a:solidFill>
                <a:latin typeface="Poppins SemiBold" panose="00000700000000000000" pitchFamily="2" charset="0"/>
                <a:ea typeface="Open Sans" panose="020F0502020204030204" pitchFamily="34" charset="0"/>
                <a:cs typeface="Poppins SemiBold" panose="00000700000000000000" pitchFamily="2" charset="0"/>
              </a:rPr>
              <a:t>Vía Telefónica</a:t>
            </a:r>
            <a:endParaRPr lang="en-US" sz="1600" dirty="0">
              <a:solidFill>
                <a:schemeClr val="bg1"/>
              </a:solidFill>
              <a:latin typeface="Poppins SemiBold" panose="00000700000000000000" pitchFamily="2" charset="0"/>
              <a:ea typeface="Open Sans" panose="020F0502020204030204" pitchFamily="34" charset="0"/>
              <a:cs typeface="Poppins SemiBold" panose="00000700000000000000" pitchFamily="2" charset="0"/>
            </a:endParaRPr>
          </a:p>
        </p:txBody>
      </p:sp>
      <p:pic>
        <p:nvPicPr>
          <p:cNvPr id="7" name="Picture 6">
            <a:extLst>
              <a:ext uri="{FF2B5EF4-FFF2-40B4-BE49-F238E27FC236}">
                <a16:creationId xmlns:a16="http://schemas.microsoft.com/office/drawing/2014/main" id="{349122D0-9A58-0FE3-D0F6-5DC3CADF86CA}"/>
              </a:ext>
            </a:extLst>
          </p:cNvPr>
          <p:cNvPicPr>
            <a:picLocks noChangeAspect="1"/>
          </p:cNvPicPr>
          <p:nvPr/>
        </p:nvPicPr>
        <p:blipFill>
          <a:blip r:embed="rId3"/>
          <a:stretch>
            <a:fillRect/>
          </a:stretch>
        </p:blipFill>
        <p:spPr>
          <a:xfrm>
            <a:off x="4530797" y="1786616"/>
            <a:ext cx="3645179" cy="3262222"/>
          </a:xfrm>
          <a:prstGeom prst="rect">
            <a:avLst/>
          </a:prstGeom>
          <a:ln w="38100" cap="sq">
            <a:solidFill>
              <a:srgbClr val="C68B69"/>
            </a:solidFill>
            <a:prstDash val="solid"/>
            <a:miter lim="800000"/>
          </a:ln>
          <a:effectLst/>
        </p:spPr>
      </p:pic>
      <p:grpSp>
        <p:nvGrpSpPr>
          <p:cNvPr id="22" name="Group 21">
            <a:extLst>
              <a:ext uri="{FF2B5EF4-FFF2-40B4-BE49-F238E27FC236}">
                <a16:creationId xmlns:a16="http://schemas.microsoft.com/office/drawing/2014/main" id="{89FBE6F9-4330-6238-C264-98EDF51292C3}"/>
              </a:ext>
            </a:extLst>
          </p:cNvPr>
          <p:cNvGrpSpPr/>
          <p:nvPr/>
        </p:nvGrpSpPr>
        <p:grpSpPr>
          <a:xfrm>
            <a:off x="8286347" y="3897638"/>
            <a:ext cx="3737765" cy="2778970"/>
            <a:chOff x="6414597" y="1866643"/>
            <a:chExt cx="4335465" cy="4417284"/>
          </a:xfrm>
        </p:grpSpPr>
        <p:pic>
          <p:nvPicPr>
            <p:cNvPr id="17" name="Picture 16">
              <a:extLst>
                <a:ext uri="{FF2B5EF4-FFF2-40B4-BE49-F238E27FC236}">
                  <a16:creationId xmlns:a16="http://schemas.microsoft.com/office/drawing/2014/main" id="{DBFB66F7-0654-2328-290E-830A0753C7DC}"/>
                </a:ext>
              </a:extLst>
            </p:cNvPr>
            <p:cNvPicPr>
              <a:picLocks noChangeAspect="1"/>
            </p:cNvPicPr>
            <p:nvPr/>
          </p:nvPicPr>
          <p:blipFill rotWithShape="1">
            <a:blip r:embed="rId4"/>
            <a:srcRect r="-293" b="77271"/>
            <a:stretch/>
          </p:blipFill>
          <p:spPr>
            <a:xfrm>
              <a:off x="6414598" y="1866643"/>
              <a:ext cx="4335464" cy="1625734"/>
            </a:xfrm>
            <a:prstGeom prst="rect">
              <a:avLst/>
            </a:prstGeom>
            <a:ln w="38100" cap="sq">
              <a:solidFill>
                <a:srgbClr val="C68B69"/>
              </a:solidFill>
              <a:prstDash val="solid"/>
              <a:miter lim="800000"/>
            </a:ln>
            <a:effectLst/>
          </p:spPr>
        </p:pic>
        <p:pic>
          <p:nvPicPr>
            <p:cNvPr id="19" name="Picture 18">
              <a:extLst>
                <a:ext uri="{FF2B5EF4-FFF2-40B4-BE49-F238E27FC236}">
                  <a16:creationId xmlns:a16="http://schemas.microsoft.com/office/drawing/2014/main" id="{7F7BD75E-0B9E-EAFF-2D39-C024D1F57FA7}"/>
                </a:ext>
              </a:extLst>
            </p:cNvPr>
            <p:cNvPicPr>
              <a:picLocks noChangeAspect="1"/>
            </p:cNvPicPr>
            <p:nvPr/>
          </p:nvPicPr>
          <p:blipFill rotWithShape="1">
            <a:blip r:embed="rId4"/>
            <a:srcRect t="60698"/>
            <a:stretch/>
          </p:blipFill>
          <p:spPr>
            <a:xfrm>
              <a:off x="6414597" y="3465125"/>
              <a:ext cx="4334400" cy="2818802"/>
            </a:xfrm>
            <a:prstGeom prst="rect">
              <a:avLst/>
            </a:prstGeom>
            <a:ln w="38100" cap="sq">
              <a:solidFill>
                <a:srgbClr val="C68B69"/>
              </a:solidFill>
              <a:prstDash val="solid"/>
              <a:miter lim="800000"/>
            </a:ln>
            <a:effectLst/>
          </p:spPr>
        </p:pic>
        <p:sp>
          <p:nvSpPr>
            <p:cNvPr id="21" name="Rectangle 20">
              <a:extLst>
                <a:ext uri="{FF2B5EF4-FFF2-40B4-BE49-F238E27FC236}">
                  <a16:creationId xmlns:a16="http://schemas.microsoft.com/office/drawing/2014/main" id="{DB30946C-1218-B248-CFD7-90971E957342}"/>
                </a:ext>
              </a:extLst>
            </p:cNvPr>
            <p:cNvSpPr/>
            <p:nvPr/>
          </p:nvSpPr>
          <p:spPr>
            <a:xfrm>
              <a:off x="6414598" y="3424881"/>
              <a:ext cx="4322755"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5">
            <a:extLst>
              <a:ext uri="{FF2B5EF4-FFF2-40B4-BE49-F238E27FC236}">
                <a16:creationId xmlns:a16="http://schemas.microsoft.com/office/drawing/2014/main" id="{82787A76-2303-D841-5269-B4B65CACB31C}"/>
              </a:ext>
            </a:extLst>
          </p:cNvPr>
          <p:cNvPicPr>
            <a:picLocks noChangeAspect="1"/>
          </p:cNvPicPr>
          <p:nvPr/>
        </p:nvPicPr>
        <p:blipFill>
          <a:blip r:embed="rId5"/>
          <a:stretch>
            <a:fillRect/>
          </a:stretch>
        </p:blipFill>
        <p:spPr>
          <a:xfrm>
            <a:off x="141225" y="1499937"/>
            <a:ext cx="4163076" cy="5071384"/>
          </a:xfrm>
          <a:prstGeom prst="rect">
            <a:avLst/>
          </a:prstGeom>
          <a:ln>
            <a:solidFill>
              <a:srgbClr val="7A604D"/>
            </a:solidFill>
          </a:ln>
        </p:spPr>
      </p:pic>
    </p:spTree>
    <p:extLst>
      <p:ext uri="{BB962C8B-B14F-4D97-AF65-F5344CB8AC3E}">
        <p14:creationId xmlns:p14="http://schemas.microsoft.com/office/powerpoint/2010/main" val="40788649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2963252"/>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n-US" altLang="en-US" sz="2800" dirty="0">
                <a:solidFill>
                  <a:schemeClr val="bg1"/>
                </a:solidFill>
                <a:latin typeface="Abadi" panose="020B0604020104020204" pitchFamily="34" charset="0"/>
              </a:rPr>
              <a:t>CHARLAS DE REFORZAMIENTO</a:t>
            </a:r>
          </a:p>
        </p:txBody>
      </p:sp>
    </p:spTree>
    <p:extLst>
      <p:ext uri="{BB962C8B-B14F-4D97-AF65-F5344CB8AC3E}">
        <p14:creationId xmlns:p14="http://schemas.microsoft.com/office/powerpoint/2010/main" val="1488449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50D6B-9022-8513-151A-5D581F1A0B81}"/>
              </a:ext>
            </a:extLst>
          </p:cNvPr>
          <p:cNvSpPr>
            <a:spLocks noGrp="1"/>
          </p:cNvSpPr>
          <p:nvPr>
            <p:ph type="title"/>
          </p:nvPr>
        </p:nvSpPr>
        <p:spPr/>
        <p:txBody>
          <a:bodyPr/>
          <a:lstStyle/>
          <a:p>
            <a:r>
              <a:rPr lang="es-PE" dirty="0"/>
              <a:t>Charlas de Reforzamiento</a:t>
            </a:r>
            <a:endParaRPr lang="en-US" dirty="0"/>
          </a:p>
        </p:txBody>
      </p:sp>
      <p:pic>
        <p:nvPicPr>
          <p:cNvPr id="5" name="Imagen 4">
            <a:extLst>
              <a:ext uri="{FF2B5EF4-FFF2-40B4-BE49-F238E27FC236}">
                <a16:creationId xmlns:a16="http://schemas.microsoft.com/office/drawing/2014/main" id="{790FE2F0-572E-4C81-6D73-260F20934775}"/>
              </a:ext>
            </a:extLst>
          </p:cNvPr>
          <p:cNvPicPr>
            <a:picLocks noChangeAspect="1"/>
          </p:cNvPicPr>
          <p:nvPr/>
        </p:nvPicPr>
        <p:blipFill>
          <a:blip r:embed="rId2"/>
          <a:stretch>
            <a:fillRect/>
          </a:stretch>
        </p:blipFill>
        <p:spPr>
          <a:xfrm>
            <a:off x="1531858" y="1429606"/>
            <a:ext cx="3480070" cy="4924298"/>
          </a:xfrm>
          <a:prstGeom prst="rect">
            <a:avLst/>
          </a:prstGeom>
          <a:ln>
            <a:solidFill>
              <a:schemeClr val="tx1"/>
            </a:solidFill>
          </a:ln>
        </p:spPr>
      </p:pic>
      <p:sp>
        <p:nvSpPr>
          <p:cNvPr id="6" name="TextBox 10">
            <a:extLst>
              <a:ext uri="{FF2B5EF4-FFF2-40B4-BE49-F238E27FC236}">
                <a16:creationId xmlns:a16="http://schemas.microsoft.com/office/drawing/2014/main" id="{967A1FB7-C7CC-1378-FAB8-527651CB9936}"/>
              </a:ext>
            </a:extLst>
          </p:cNvPr>
          <p:cNvSpPr txBox="1"/>
          <p:nvPr/>
        </p:nvSpPr>
        <p:spPr>
          <a:xfrm>
            <a:off x="6502401" y="2948732"/>
            <a:ext cx="4258732" cy="646986"/>
          </a:xfrm>
          <a:prstGeom prst="roundRect">
            <a:avLst/>
          </a:prstGeom>
          <a:solidFill>
            <a:srgbClr val="C68B69"/>
          </a:solidFill>
          <a:ln>
            <a:solidFill>
              <a:srgbClr val="C68B69"/>
            </a:solidFill>
          </a:ln>
        </p:spPr>
        <p:txBody>
          <a:bodyPr wrap="square" rtlCol="0">
            <a:spAutoFit/>
          </a:bodyPr>
          <a:lstStyle>
            <a:defPPr>
              <a:defRPr lang="en-US"/>
            </a:defPPr>
            <a:lvl1pPr>
              <a:defRPr sz="1600">
                <a:solidFill>
                  <a:schemeClr val="bg1"/>
                </a:solidFill>
                <a:latin typeface="Poppins SemiBold" panose="00000700000000000000" pitchFamily="2" charset="0"/>
                <a:ea typeface="Open Sans" panose="020F0502020204030204" pitchFamily="34" charset="0"/>
                <a:cs typeface="Poppins SemiBold" panose="00000700000000000000" pitchFamily="2" charset="0"/>
              </a:defRPr>
            </a:lvl1pPr>
          </a:lstStyle>
          <a:p>
            <a:pPr algn="ctr"/>
            <a:r>
              <a:rPr lang="en-US" dirty="0">
                <a:hlinkClick r:id="rId3">
                  <a:extLst>
                    <a:ext uri="{A12FA001-AC4F-418D-AE19-62706E023703}">
                      <ahyp:hlinkClr xmlns:ahyp="http://schemas.microsoft.com/office/drawing/2018/hyperlinkcolor" val="tx"/>
                    </a:ext>
                  </a:extLst>
                </a:hlinkClick>
              </a:rPr>
              <a:t>Accede a las </a:t>
            </a:r>
            <a:r>
              <a:rPr lang="en-US" dirty="0" err="1">
                <a:hlinkClick r:id="rId3">
                  <a:extLst>
                    <a:ext uri="{A12FA001-AC4F-418D-AE19-62706E023703}">
                      <ahyp:hlinkClr xmlns:ahyp="http://schemas.microsoft.com/office/drawing/2018/hyperlinkcolor" val="tx"/>
                    </a:ext>
                  </a:extLst>
                </a:hlinkClick>
              </a:rPr>
              <a:t>charlas</a:t>
            </a:r>
            <a:r>
              <a:rPr lang="en-US" dirty="0">
                <a:hlinkClick r:id="rId3">
                  <a:extLst>
                    <a:ext uri="{A12FA001-AC4F-418D-AE19-62706E023703}">
                      <ahyp:hlinkClr xmlns:ahyp="http://schemas.microsoft.com/office/drawing/2018/hyperlinkcolor" val="tx"/>
                    </a:ext>
                  </a:extLst>
                </a:hlinkClick>
              </a:rPr>
              <a:t> de </a:t>
            </a:r>
            <a:r>
              <a:rPr lang="en-US" dirty="0" err="1">
                <a:hlinkClick r:id="rId3">
                  <a:extLst>
                    <a:ext uri="{A12FA001-AC4F-418D-AE19-62706E023703}">
                      <ahyp:hlinkClr xmlns:ahyp="http://schemas.microsoft.com/office/drawing/2018/hyperlinkcolor" val="tx"/>
                    </a:ext>
                  </a:extLst>
                </a:hlinkClick>
              </a:rPr>
              <a:t>reforzamiento</a:t>
            </a:r>
            <a:r>
              <a:rPr lang="en-US" dirty="0">
                <a:hlinkClick r:id="rId3">
                  <a:extLst>
                    <a:ext uri="{A12FA001-AC4F-418D-AE19-62706E023703}">
                      <ahyp:hlinkClr xmlns:ahyp="http://schemas.microsoft.com/office/drawing/2018/hyperlinkcolor" val="tx"/>
                    </a:ext>
                  </a:extLst>
                </a:hlinkClick>
              </a:rPr>
              <a:t> del SGSSO</a:t>
            </a:r>
            <a:endParaRPr lang="en-US" dirty="0"/>
          </a:p>
        </p:txBody>
      </p:sp>
    </p:spTree>
    <p:extLst>
      <p:ext uri="{BB962C8B-B14F-4D97-AF65-F5344CB8AC3E}">
        <p14:creationId xmlns:p14="http://schemas.microsoft.com/office/powerpoint/2010/main" val="9090686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42F24-2B50-450C-B8D4-569FA409148F}"/>
              </a:ext>
            </a:extLst>
          </p:cNvPr>
          <p:cNvSpPr>
            <a:spLocks noGrp="1"/>
          </p:cNvSpPr>
          <p:nvPr>
            <p:ph type="ctrTitle" idx="4294967295"/>
          </p:nvPr>
        </p:nvSpPr>
        <p:spPr>
          <a:xfrm>
            <a:off x="699796" y="1599028"/>
            <a:ext cx="4478694" cy="2056182"/>
          </a:xfrm>
        </p:spPr>
        <p:txBody>
          <a:bodyPr/>
          <a:lstStyle/>
          <a:p>
            <a:pPr algn="ctr">
              <a:lnSpc>
                <a:spcPct val="100000"/>
              </a:lnSpc>
            </a:pPr>
            <a:r>
              <a:rPr lang="en-US" dirty="0">
                <a:solidFill>
                  <a:srgbClr val="705949"/>
                </a:solidFill>
                <a:latin typeface="Poppins SemiBold" panose="00000700000000000000" pitchFamily="2" charset="0"/>
                <a:ea typeface="+mn-ea"/>
                <a:cs typeface="Poppins SemiBold" panose="00000700000000000000" pitchFamily="2" charset="0"/>
              </a:rPr>
              <a:t>Gracias</a:t>
            </a:r>
          </a:p>
        </p:txBody>
      </p:sp>
    </p:spTree>
    <p:extLst>
      <p:ext uri="{BB962C8B-B14F-4D97-AF65-F5344CB8AC3E}">
        <p14:creationId xmlns:p14="http://schemas.microsoft.com/office/powerpoint/2010/main" val="2739722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DABAC93-1BB8-2F18-6BD4-09E145557CDE}"/>
              </a:ext>
            </a:extLst>
          </p:cNvPr>
          <p:cNvGrpSpPr/>
          <p:nvPr/>
        </p:nvGrpSpPr>
        <p:grpSpPr>
          <a:xfrm>
            <a:off x="6596109" y="1969476"/>
            <a:ext cx="5223285" cy="3303860"/>
            <a:chOff x="6596109" y="1960598"/>
            <a:chExt cx="5223285" cy="3303860"/>
          </a:xfrm>
        </p:grpSpPr>
        <p:pic>
          <p:nvPicPr>
            <p:cNvPr id="2" name="Picture 1">
              <a:extLst>
                <a:ext uri="{FF2B5EF4-FFF2-40B4-BE49-F238E27FC236}">
                  <a16:creationId xmlns:a16="http://schemas.microsoft.com/office/drawing/2014/main" id="{42765D3E-A2D8-F085-811F-9F815528AA76}"/>
                </a:ext>
              </a:extLst>
            </p:cNvPr>
            <p:cNvPicPr>
              <a:picLocks noChangeAspect="1"/>
            </p:cNvPicPr>
            <p:nvPr/>
          </p:nvPicPr>
          <p:blipFill rotWithShape="1">
            <a:blip r:embed="rId3"/>
            <a:srcRect l="3630" r="3325"/>
            <a:stretch/>
          </p:blipFill>
          <p:spPr>
            <a:xfrm>
              <a:off x="6596109" y="1960598"/>
              <a:ext cx="5223285" cy="3303860"/>
            </a:xfrm>
            <a:prstGeom prst="rect">
              <a:avLst/>
            </a:prstGeom>
            <a:ln w="19050">
              <a:solidFill>
                <a:srgbClr val="C68B69"/>
              </a:solidFill>
            </a:ln>
          </p:spPr>
        </p:pic>
        <p:sp>
          <p:nvSpPr>
            <p:cNvPr id="4" name="Rectangle 3">
              <a:extLst>
                <a:ext uri="{FF2B5EF4-FFF2-40B4-BE49-F238E27FC236}">
                  <a16:creationId xmlns:a16="http://schemas.microsoft.com/office/drawing/2014/main" id="{F810755C-9B09-3923-7112-9D79088B205B}"/>
                </a:ext>
              </a:extLst>
            </p:cNvPr>
            <p:cNvSpPr/>
            <p:nvPr/>
          </p:nvSpPr>
          <p:spPr>
            <a:xfrm>
              <a:off x="6596109" y="2050742"/>
              <a:ext cx="834501" cy="4793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A74000BB-01C3-44BA-816C-04CA7BEBCF72}"/>
              </a:ext>
            </a:extLst>
          </p:cNvPr>
          <p:cNvSpPr>
            <a:spLocks noGrp="1"/>
          </p:cNvSpPr>
          <p:nvPr>
            <p:ph idx="1"/>
          </p:nvPr>
        </p:nvSpPr>
        <p:spPr>
          <a:xfrm>
            <a:off x="332641" y="2435054"/>
            <a:ext cx="6414715" cy="2942243"/>
          </a:xfrm>
        </p:spPr>
        <p:txBody>
          <a:bodyPr/>
          <a:lstStyle/>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FECHA DE LA AUDITORIA: </a:t>
            </a:r>
            <a:r>
              <a:rPr lang="es-PE" sz="1800" dirty="0">
                <a:latin typeface="Poppins" panose="00000500000000000000" pitchFamily="2" charset="0"/>
                <a:cs typeface="Poppins" panose="00000500000000000000" pitchFamily="2" charset="0"/>
              </a:rPr>
              <a:t>19 – 21 Marzo 2025</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EMPRESA AUDITORA: </a:t>
            </a:r>
            <a:r>
              <a:rPr lang="en-US" sz="1800" spc="0" dirty="0">
                <a:effectLst/>
                <a:latin typeface="Poppins" panose="00000500000000000000" pitchFamily="2" charset="0"/>
                <a:ea typeface="Arial" panose="020B0604020202020204" pitchFamily="34" charset="0"/>
                <a:cs typeface="Poppins" panose="00000500000000000000" pitchFamily="2" charset="0"/>
              </a:rPr>
              <a:t>GESCAM CONSULTORES</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EQUIPO AUDITOR: </a:t>
            </a:r>
            <a:r>
              <a:rPr lang="en-US" sz="1800" spc="0" dirty="0">
                <a:effectLst/>
                <a:latin typeface="Poppins" panose="00000500000000000000" pitchFamily="2" charset="0"/>
                <a:ea typeface="Arial" panose="020B0604020202020204" pitchFamily="34" charset="0"/>
                <a:cs typeface="Poppins" panose="00000500000000000000" pitchFamily="2" charset="0"/>
              </a:rPr>
              <a:t>02 AUDITORES </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MODALIDAD: </a:t>
            </a:r>
            <a:r>
              <a:rPr lang="en-US" sz="1800" dirty="0">
                <a:latin typeface="Poppins" panose="00000500000000000000" pitchFamily="2" charset="0"/>
                <a:cs typeface="Poppins" panose="00000500000000000000" pitchFamily="2" charset="0"/>
              </a:rPr>
              <a:t>REVISIÓN DOCUMENTARIA, VISITAS A CAMPO, ENTREVISTA A TRABAJADORES PROPIOS Y TERCEROS</a:t>
            </a:r>
          </a:p>
        </p:txBody>
      </p:sp>
      <p:sp>
        <p:nvSpPr>
          <p:cNvPr id="9" name="Title 8">
            <a:extLst>
              <a:ext uri="{FF2B5EF4-FFF2-40B4-BE49-F238E27FC236}">
                <a16:creationId xmlns:a16="http://schemas.microsoft.com/office/drawing/2014/main" id="{2CCD0179-02F2-8188-2F3C-5EC85CFAEB28}"/>
              </a:ext>
            </a:extLst>
          </p:cNvPr>
          <p:cNvSpPr>
            <a:spLocks noGrp="1"/>
          </p:cNvSpPr>
          <p:nvPr>
            <p:ph type="title"/>
          </p:nvPr>
        </p:nvSpPr>
        <p:spPr/>
        <p:txBody>
          <a:bodyPr/>
          <a:lstStyle/>
          <a:p>
            <a:r>
              <a:rPr lang="es-PE" dirty="0">
                <a:solidFill>
                  <a:schemeClr val="bg1"/>
                </a:solidFill>
                <a:latin typeface="Abadi" panose="020B0604020104020204" pitchFamily="34" charset="0"/>
              </a:rPr>
              <a:t>DATOS GENERALES:</a:t>
            </a:r>
          </a:p>
        </p:txBody>
      </p:sp>
      <p:sp>
        <p:nvSpPr>
          <p:cNvPr id="11" name="Multiplication Sign 10">
            <a:extLst>
              <a:ext uri="{FF2B5EF4-FFF2-40B4-BE49-F238E27FC236}">
                <a16:creationId xmlns:a16="http://schemas.microsoft.com/office/drawing/2014/main" id="{DB2AFE03-F3DA-ED5E-0F58-FB1B85F2393B}"/>
              </a:ext>
            </a:extLst>
          </p:cNvPr>
          <p:cNvSpPr/>
          <p:nvPr/>
        </p:nvSpPr>
        <p:spPr>
          <a:xfrm>
            <a:off x="9270917" y="4018715"/>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2" name="Multiplication Sign 11">
            <a:extLst>
              <a:ext uri="{FF2B5EF4-FFF2-40B4-BE49-F238E27FC236}">
                <a16:creationId xmlns:a16="http://schemas.microsoft.com/office/drawing/2014/main" id="{2A5F4AE4-3F90-D5B0-F07F-FF52C44102BB}"/>
              </a:ext>
            </a:extLst>
          </p:cNvPr>
          <p:cNvSpPr/>
          <p:nvPr/>
        </p:nvSpPr>
        <p:spPr>
          <a:xfrm>
            <a:off x="9958808" y="4018715"/>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3" name="Multiplication Sign 12">
            <a:extLst>
              <a:ext uri="{FF2B5EF4-FFF2-40B4-BE49-F238E27FC236}">
                <a16:creationId xmlns:a16="http://schemas.microsoft.com/office/drawing/2014/main" id="{C8A49855-0EE7-D7DF-868F-8404FC0A1B83}"/>
              </a:ext>
            </a:extLst>
          </p:cNvPr>
          <p:cNvSpPr/>
          <p:nvPr/>
        </p:nvSpPr>
        <p:spPr>
          <a:xfrm>
            <a:off x="10696623" y="4018714"/>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Tree>
    <p:extLst>
      <p:ext uri="{BB962C8B-B14F-4D97-AF65-F5344CB8AC3E}">
        <p14:creationId xmlns:p14="http://schemas.microsoft.com/office/powerpoint/2010/main" val="3697566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461139" y="2479675"/>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n-US" altLang="en-US" sz="2800" dirty="0">
                <a:solidFill>
                  <a:schemeClr val="bg1"/>
                </a:solidFill>
                <a:latin typeface="Abadi" panose="020B0604020104020204" pitchFamily="34" charset="0"/>
              </a:rPr>
              <a:t>Plan de Auditoría SGSSO</a:t>
            </a:r>
          </a:p>
        </p:txBody>
      </p:sp>
      <p:sp>
        <p:nvSpPr>
          <p:cNvPr id="4" name="Subtitle 2">
            <a:extLst>
              <a:ext uri="{FF2B5EF4-FFF2-40B4-BE49-F238E27FC236}">
                <a16:creationId xmlns:a16="http://schemas.microsoft.com/office/drawing/2014/main" id="{19A7A5CC-C7F1-1A88-CF54-31D5B8150FAD}"/>
              </a:ext>
            </a:extLst>
          </p:cNvPr>
          <p:cNvSpPr txBox="1">
            <a:spLocks noChangeArrowheads="1"/>
          </p:cNvSpPr>
          <p:nvPr/>
        </p:nvSpPr>
        <p:spPr bwMode="auto">
          <a:xfrm>
            <a:off x="461139" y="4314825"/>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BB5D00"/>
              </a:buClr>
              <a:buSzPct val="11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a:lnSpc>
                <a:spcPct val="90000"/>
              </a:lnSpc>
              <a:spcBef>
                <a:spcPts val="500"/>
              </a:spcBef>
              <a:buClr>
                <a:srgbClr val="DF572A"/>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a:lnSpc>
                <a:spcPct val="90000"/>
              </a:lnSpc>
              <a:spcBef>
                <a:spcPts val="500"/>
              </a:spcBef>
              <a:buClr>
                <a:srgbClr val="DF572A"/>
              </a:buClr>
              <a:buSzPct val="800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a:lnSpc>
                <a:spcPct val="90000"/>
              </a:lnSpc>
              <a:spcBef>
                <a:spcPts val="500"/>
              </a:spcBef>
              <a:buClr>
                <a:srgbClr val="DF572A"/>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a:lnSpc>
                <a:spcPct val="90000"/>
              </a:lnSpc>
              <a:spcBef>
                <a:spcPts val="500"/>
              </a:spcBef>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5pPr>
            <a:lvl6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6pPr>
            <a:lvl7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7pPr>
            <a:lvl8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8pPr>
            <a:lvl9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r>
              <a:rPr lang="en-US" altLang="en-US" sz="1800" dirty="0">
                <a:solidFill>
                  <a:schemeClr val="bg1"/>
                </a:solidFill>
                <a:latin typeface="Abadi" panose="020B0604020104020204" pitchFamily="34" charset="0"/>
              </a:rPr>
              <a:t>MARZO 2025</a:t>
            </a:r>
          </a:p>
        </p:txBody>
      </p:sp>
    </p:spTree>
    <p:extLst>
      <p:ext uri="{BB962C8B-B14F-4D97-AF65-F5344CB8AC3E}">
        <p14:creationId xmlns:p14="http://schemas.microsoft.com/office/powerpoint/2010/main" val="1678311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CCD0179-02F2-8188-2F3C-5EC85CFAEB28}"/>
              </a:ext>
            </a:extLst>
          </p:cNvPr>
          <p:cNvSpPr>
            <a:spLocks noGrp="1"/>
          </p:cNvSpPr>
          <p:nvPr>
            <p:ph type="title"/>
          </p:nvPr>
        </p:nvSpPr>
        <p:spPr>
          <a:xfrm>
            <a:off x="569047" y="336546"/>
            <a:ext cx="9680953" cy="607555"/>
          </a:xfrm>
        </p:spPr>
        <p:txBody>
          <a:bodyPr/>
          <a:lstStyle/>
          <a:p>
            <a:r>
              <a:rPr lang="es-PE" dirty="0">
                <a:solidFill>
                  <a:schemeClr val="bg1"/>
                </a:solidFill>
                <a:latin typeface="Abadi" panose="020B0604020104020204" pitchFamily="34" charset="0"/>
              </a:rPr>
              <a:t>Programa de Auditoría</a:t>
            </a:r>
          </a:p>
        </p:txBody>
      </p:sp>
      <p:pic>
        <p:nvPicPr>
          <p:cNvPr id="10" name="Picture 9">
            <a:extLst>
              <a:ext uri="{FF2B5EF4-FFF2-40B4-BE49-F238E27FC236}">
                <a16:creationId xmlns:a16="http://schemas.microsoft.com/office/drawing/2014/main" id="{4D09A997-E931-8FF8-9F55-D48829967F7A}"/>
              </a:ext>
            </a:extLst>
          </p:cNvPr>
          <p:cNvPicPr>
            <a:picLocks noChangeAspect="1"/>
          </p:cNvPicPr>
          <p:nvPr/>
        </p:nvPicPr>
        <p:blipFill>
          <a:blip r:embed="rId3"/>
          <a:stretch>
            <a:fillRect/>
          </a:stretch>
        </p:blipFill>
        <p:spPr>
          <a:xfrm>
            <a:off x="6255253" y="1918568"/>
            <a:ext cx="5300129" cy="4812963"/>
          </a:xfrm>
          <a:prstGeom prst="rect">
            <a:avLst/>
          </a:prstGeom>
          <a:ln w="19050">
            <a:solidFill>
              <a:srgbClr val="C68B69"/>
            </a:solidFill>
          </a:ln>
        </p:spPr>
      </p:pic>
      <p:sp>
        <p:nvSpPr>
          <p:cNvPr id="11" name="Content Placeholder 2">
            <a:extLst>
              <a:ext uri="{FF2B5EF4-FFF2-40B4-BE49-F238E27FC236}">
                <a16:creationId xmlns:a16="http://schemas.microsoft.com/office/drawing/2014/main" id="{35719834-6600-41DD-9EA4-AF3AC7DCB6D5}"/>
              </a:ext>
            </a:extLst>
          </p:cNvPr>
          <p:cNvSpPr>
            <a:spLocks noGrp="1"/>
          </p:cNvSpPr>
          <p:nvPr>
            <p:ph idx="1"/>
          </p:nvPr>
        </p:nvSpPr>
        <p:spPr>
          <a:xfrm>
            <a:off x="1838221" y="1503169"/>
            <a:ext cx="2672236" cy="491165"/>
          </a:xfrm>
        </p:spPr>
        <p:txBody>
          <a:bodyPr/>
          <a:lstStyle/>
          <a:p>
            <a:pPr marL="86995" indent="0">
              <a:lnSpc>
                <a:spcPct val="150000"/>
              </a:lnSpc>
              <a:buNone/>
            </a:pPr>
            <a:r>
              <a:rPr lang="es-PE" sz="1800" b="1" dirty="0">
                <a:solidFill>
                  <a:srgbClr val="C68B69"/>
                </a:solidFill>
                <a:latin typeface="Poppins" panose="00000500000000000000" pitchFamily="2" charset="0"/>
                <a:cs typeface="Poppins" panose="00000500000000000000" pitchFamily="2" charset="0"/>
              </a:rPr>
              <a:t>D</a:t>
            </a:r>
            <a:r>
              <a:rPr lang="en-US" sz="1800" b="1" dirty="0" err="1">
                <a:solidFill>
                  <a:srgbClr val="C68B69"/>
                </a:solidFill>
                <a:latin typeface="Poppins" panose="00000500000000000000" pitchFamily="2" charset="0"/>
                <a:cs typeface="Poppins" panose="00000500000000000000" pitchFamily="2" charset="0"/>
              </a:rPr>
              <a:t>ía</a:t>
            </a:r>
            <a:r>
              <a:rPr lang="en-US" sz="1800" b="1" dirty="0">
                <a:solidFill>
                  <a:srgbClr val="C68B69"/>
                </a:solidFill>
                <a:latin typeface="Poppins" panose="00000500000000000000" pitchFamily="2" charset="0"/>
                <a:cs typeface="Poppins" panose="00000500000000000000" pitchFamily="2" charset="0"/>
              </a:rPr>
              <a:t> 1 – 19 de </a:t>
            </a:r>
            <a:r>
              <a:rPr lang="en-US" sz="1800" b="1" dirty="0" err="1">
                <a:solidFill>
                  <a:srgbClr val="C68B69"/>
                </a:solidFill>
                <a:latin typeface="Poppins" panose="00000500000000000000" pitchFamily="2" charset="0"/>
                <a:cs typeface="Poppins" panose="00000500000000000000" pitchFamily="2" charset="0"/>
              </a:rPr>
              <a:t>marzo</a:t>
            </a:r>
            <a:endParaRPr lang="es-PE" sz="1800" dirty="0">
              <a:latin typeface="Poppins" panose="00000500000000000000" pitchFamily="2" charset="0"/>
              <a:cs typeface="Poppins" panose="00000500000000000000" pitchFamily="2" charset="0"/>
            </a:endParaRPr>
          </a:p>
        </p:txBody>
      </p:sp>
      <p:sp>
        <p:nvSpPr>
          <p:cNvPr id="12" name="Content Placeholder 2">
            <a:extLst>
              <a:ext uri="{FF2B5EF4-FFF2-40B4-BE49-F238E27FC236}">
                <a16:creationId xmlns:a16="http://schemas.microsoft.com/office/drawing/2014/main" id="{B3BAA5DC-776B-1815-E428-83FE4F3A41FE}"/>
              </a:ext>
            </a:extLst>
          </p:cNvPr>
          <p:cNvSpPr txBox="1">
            <a:spLocks/>
          </p:cNvSpPr>
          <p:nvPr/>
        </p:nvSpPr>
        <p:spPr>
          <a:xfrm>
            <a:off x="7854446" y="1199391"/>
            <a:ext cx="2672236" cy="607555"/>
          </a:xfrm>
          <a:prstGeom prst="rect">
            <a:avLst/>
          </a:prstGeom>
          <a:ln>
            <a:noFill/>
          </a:ln>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a:solidFill>
                  <a:schemeClr val="tx1"/>
                </a:solidFill>
                <a:latin typeface="+mj-lt"/>
                <a:ea typeface="+mn-ea"/>
                <a:cs typeface="Arial" panose="020B0604020202020204" pitchFamily="34" charset="0"/>
              </a:defRPr>
            </a:lvl1pPr>
            <a:lvl2pPr marL="571500" indent="-285750" algn="l" defTabSz="914400" rtl="0" eaLnBrk="1" latinLnBrk="0" hangingPunct="1">
              <a:lnSpc>
                <a:spcPct val="90000"/>
              </a:lnSpc>
              <a:spcBef>
                <a:spcPts val="500"/>
              </a:spcBef>
              <a:buClr>
                <a:srgbClr val="BB5D00"/>
              </a:buClr>
              <a:buFont typeface="Arial" panose="020B0604020202020204" pitchFamily="34" charset="0"/>
              <a:buChar char="‒"/>
              <a:defRPr lang="en-US" sz="2200" b="0" i="0" kern="1200">
                <a:solidFill>
                  <a:schemeClr val="tx1"/>
                </a:solidFill>
                <a:latin typeface="+mj-lt"/>
                <a:ea typeface="+mn-ea"/>
                <a:cs typeface="Arial" panose="020B0604020202020204" pitchFamily="34" charset="0"/>
              </a:defRPr>
            </a:lvl2pPr>
            <a:lvl3pPr marL="688975"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lgn="l" defTabSz="914400" rtl="0" eaLnBrk="1" latinLnBrk="0" hangingPunct="1">
              <a:lnSpc>
                <a:spcPct val="90000"/>
              </a:lnSpc>
              <a:spcBef>
                <a:spcPts val="500"/>
              </a:spcBef>
              <a:buClr>
                <a:srgbClr val="BB5D00"/>
              </a:buClr>
              <a:buSzPct val="95000"/>
              <a:buFont typeface="Arial" panose="020B0604020202020204" pitchFamily="34" charset="0"/>
              <a:buChar char="•"/>
              <a:defRPr lang="en-US" sz="1800" b="0" i="0" kern="1200">
                <a:solidFill>
                  <a:schemeClr val="tx1"/>
                </a:solidFill>
                <a:latin typeface="+mj-lt"/>
                <a:ea typeface="+mn-ea"/>
                <a:cs typeface="Arial" panose="020B0604020202020204" pitchFamily="34" charset="0"/>
              </a:defRPr>
            </a:lvl4pPr>
            <a:lvl5pPr marL="1139825" indent="-225425" algn="l" defTabSz="914400" rtl="0" eaLnBrk="1" latinLnBrk="0" hangingPunct="1">
              <a:lnSpc>
                <a:spcPct val="90000"/>
              </a:lnSpc>
              <a:spcBef>
                <a:spcPts val="500"/>
              </a:spcBef>
              <a:buClr>
                <a:srgbClr val="BB5D00"/>
              </a:buClr>
              <a:buFont typeface="Arial" panose="020B0604020202020204" pitchFamily="34" charset="0"/>
              <a:buChar char="–"/>
              <a:defRPr lang="en-US" sz="1600" b="0" i="0" kern="120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6995" indent="0">
              <a:lnSpc>
                <a:spcPct val="100000"/>
              </a:lnSpc>
              <a:buFont typeface="Arial" panose="020B0604020202020204" pitchFamily="34" charset="0"/>
              <a:buNone/>
            </a:pPr>
            <a:r>
              <a:rPr lang="es-PE" sz="1600" b="1" dirty="0">
                <a:solidFill>
                  <a:srgbClr val="C68B69"/>
                </a:solidFill>
                <a:latin typeface="Poppins" panose="00000500000000000000" pitchFamily="2" charset="0"/>
                <a:cs typeface="Poppins" panose="00000500000000000000" pitchFamily="2" charset="0"/>
              </a:rPr>
              <a:t>Día 2 -  20 de marzo </a:t>
            </a:r>
          </a:p>
          <a:p>
            <a:pPr marL="86995" indent="0">
              <a:lnSpc>
                <a:spcPct val="100000"/>
              </a:lnSpc>
              <a:buFont typeface="Arial" panose="020B0604020202020204" pitchFamily="34" charset="0"/>
              <a:buNone/>
            </a:pPr>
            <a:r>
              <a:rPr lang="es-PE" sz="1600" b="1" dirty="0">
                <a:solidFill>
                  <a:srgbClr val="C68B69"/>
                </a:solidFill>
                <a:latin typeface="Poppins" panose="00000500000000000000" pitchFamily="2" charset="0"/>
                <a:cs typeface="Poppins" panose="00000500000000000000" pitchFamily="2" charset="0"/>
              </a:rPr>
              <a:t>Día 3 –  21 de marzo </a:t>
            </a:r>
            <a:endParaRPr lang="es-PE" sz="1600" dirty="0">
              <a:latin typeface="Poppins" panose="00000500000000000000" pitchFamily="2" charset="0"/>
              <a:cs typeface="Poppins" panose="00000500000000000000" pitchFamily="2" charset="0"/>
            </a:endParaRPr>
          </a:p>
        </p:txBody>
      </p:sp>
      <p:pic>
        <p:nvPicPr>
          <p:cNvPr id="14" name="Picture 13">
            <a:extLst>
              <a:ext uri="{FF2B5EF4-FFF2-40B4-BE49-F238E27FC236}">
                <a16:creationId xmlns:a16="http://schemas.microsoft.com/office/drawing/2014/main" id="{98FABF39-7014-5315-2E03-73453D541E39}"/>
              </a:ext>
            </a:extLst>
          </p:cNvPr>
          <p:cNvPicPr>
            <a:picLocks noChangeAspect="1"/>
          </p:cNvPicPr>
          <p:nvPr/>
        </p:nvPicPr>
        <p:blipFill>
          <a:blip r:embed="rId4"/>
          <a:stretch>
            <a:fillRect/>
          </a:stretch>
        </p:blipFill>
        <p:spPr>
          <a:xfrm>
            <a:off x="297641" y="1994334"/>
            <a:ext cx="5626297" cy="4527120"/>
          </a:xfrm>
          <a:prstGeom prst="rect">
            <a:avLst/>
          </a:prstGeom>
          <a:ln w="19050">
            <a:solidFill>
              <a:srgbClr val="C68B69"/>
            </a:solidFill>
          </a:ln>
        </p:spPr>
      </p:pic>
    </p:spTree>
    <p:extLst>
      <p:ext uri="{BB962C8B-B14F-4D97-AF65-F5344CB8AC3E}">
        <p14:creationId xmlns:p14="http://schemas.microsoft.com/office/powerpoint/2010/main" val="3430660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63E11-F3CC-18C3-E0AA-94D89D53A965}"/>
              </a:ext>
            </a:extLst>
          </p:cNvPr>
          <p:cNvSpPr txBox="1">
            <a:spLocks noChangeArrowheads="1"/>
          </p:cNvSpPr>
          <p:nvPr/>
        </p:nvSpPr>
        <p:spPr>
          <a:xfrm>
            <a:off x="461139" y="2878931"/>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rPr>
              <a:t>Información acerca del Sistema de Gestión de Seguridad y Salud Ocupacional</a:t>
            </a:r>
            <a:endParaRPr lang="en-US" altLang="en-US" sz="2800" dirty="0">
              <a:solidFill>
                <a:schemeClr val="bg1"/>
              </a:solidFill>
            </a:endParaRPr>
          </a:p>
        </p:txBody>
      </p:sp>
      <p:sp>
        <p:nvSpPr>
          <p:cNvPr id="5" name="Title 1">
            <a:extLst>
              <a:ext uri="{FF2B5EF4-FFF2-40B4-BE49-F238E27FC236}">
                <a16:creationId xmlns:a16="http://schemas.microsoft.com/office/drawing/2014/main" id="{A00316FA-3E65-4197-74F0-F0D20D0A757B}"/>
              </a:ext>
            </a:extLst>
          </p:cNvPr>
          <p:cNvSpPr txBox="1">
            <a:spLocks noChangeArrowheads="1"/>
          </p:cNvSpPr>
          <p:nvPr/>
        </p:nvSpPr>
        <p:spPr>
          <a:xfrm>
            <a:off x="461139" y="3952802"/>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rPr>
              <a:t>ISO 45001:2018</a:t>
            </a:r>
            <a:endParaRPr lang="en-US" altLang="en-US" sz="2800" dirty="0">
              <a:solidFill>
                <a:schemeClr val="bg1"/>
              </a:solidFill>
            </a:endParaRPr>
          </a:p>
        </p:txBody>
      </p:sp>
    </p:spTree>
    <p:extLst>
      <p:ext uri="{BB962C8B-B14F-4D97-AF65-F5344CB8AC3E}">
        <p14:creationId xmlns:p14="http://schemas.microsoft.com/office/powerpoint/2010/main" val="2071524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ángulo: esquinas redondeadas 30">
            <a:extLst>
              <a:ext uri="{FF2B5EF4-FFF2-40B4-BE49-F238E27FC236}">
                <a16:creationId xmlns:a16="http://schemas.microsoft.com/office/drawing/2014/main" id="{3903F407-1B0B-7C03-EFA0-35F136EF0783}"/>
              </a:ext>
            </a:extLst>
          </p:cNvPr>
          <p:cNvSpPr/>
          <p:nvPr/>
        </p:nvSpPr>
        <p:spPr>
          <a:xfrm>
            <a:off x="153661" y="1211720"/>
            <a:ext cx="1385187" cy="5146069"/>
          </a:xfrm>
          <a:prstGeom prst="round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900" dirty="0"/>
          </a:p>
        </p:txBody>
      </p:sp>
      <p:sp>
        <p:nvSpPr>
          <p:cNvPr id="17" name="Rectángulo: esquinas redondeadas 16">
            <a:extLst>
              <a:ext uri="{FF2B5EF4-FFF2-40B4-BE49-F238E27FC236}">
                <a16:creationId xmlns:a16="http://schemas.microsoft.com/office/drawing/2014/main" id="{E9931E94-7766-65DE-D641-06C14035BEB4}"/>
              </a:ext>
            </a:extLst>
          </p:cNvPr>
          <p:cNvSpPr/>
          <p:nvPr/>
        </p:nvSpPr>
        <p:spPr>
          <a:xfrm>
            <a:off x="10653152" y="1405431"/>
            <a:ext cx="1385187" cy="5146069"/>
          </a:xfrm>
          <a:prstGeom prst="round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900" dirty="0"/>
          </a:p>
        </p:txBody>
      </p:sp>
      <p:sp>
        <p:nvSpPr>
          <p:cNvPr id="14" name="Rectángulo: esquinas redondeadas 13">
            <a:extLst>
              <a:ext uri="{FF2B5EF4-FFF2-40B4-BE49-F238E27FC236}">
                <a16:creationId xmlns:a16="http://schemas.microsoft.com/office/drawing/2014/main" id="{FAA349EF-D971-5205-25F3-2C4B11346556}"/>
              </a:ext>
            </a:extLst>
          </p:cNvPr>
          <p:cNvSpPr/>
          <p:nvPr/>
        </p:nvSpPr>
        <p:spPr>
          <a:xfrm>
            <a:off x="1717492" y="1176148"/>
            <a:ext cx="8738497" cy="5575382"/>
          </a:xfrm>
          <a:prstGeom prst="roundRect">
            <a:avLst/>
          </a:prstGeom>
          <a:solidFill>
            <a:schemeClr val="accent2">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sz="900"/>
          </a:p>
        </p:txBody>
      </p:sp>
      <p:sp>
        <p:nvSpPr>
          <p:cNvPr id="4" name="Freeform 1">
            <a:extLst>
              <a:ext uri="{FF2B5EF4-FFF2-40B4-BE49-F238E27FC236}">
                <a16:creationId xmlns:a16="http://schemas.microsoft.com/office/drawing/2014/main" id="{C4EB4768-8930-4781-84EE-7618C37F3E4D}"/>
              </a:ext>
            </a:extLst>
          </p:cNvPr>
          <p:cNvSpPr>
            <a:spLocks noChangeArrowheads="1"/>
          </p:cNvSpPr>
          <p:nvPr/>
        </p:nvSpPr>
        <p:spPr bwMode="auto">
          <a:xfrm>
            <a:off x="2772918" y="2752004"/>
            <a:ext cx="3190229" cy="1794183"/>
          </a:xfrm>
          <a:custGeom>
            <a:avLst/>
            <a:gdLst>
              <a:gd name="T0" fmla="*/ 1203013 w 10377"/>
              <a:gd name="T1" fmla="*/ 1824002 h 5905"/>
              <a:gd name="T2" fmla="*/ 1217772 w 10377"/>
              <a:gd name="T3" fmla="*/ 1604776 h 5905"/>
              <a:gd name="T4" fmla="*/ 2807750 w 10377"/>
              <a:gd name="T5" fmla="*/ 218866 h 5905"/>
              <a:gd name="T6" fmla="*/ 3362101 w 10377"/>
              <a:gd name="T7" fmla="*/ 317499 h 5905"/>
              <a:gd name="T8" fmla="*/ 3149720 w 10377"/>
              <a:gd name="T9" fmla="*/ 481289 h 5905"/>
              <a:gd name="T10" fmla="*/ 3735028 w 10377"/>
              <a:gd name="T11" fmla="*/ 516206 h 5905"/>
              <a:gd name="T12" fmla="*/ 3456053 w 10377"/>
              <a:gd name="T13" fmla="*/ 0 h 5905"/>
              <a:gd name="T14" fmla="*/ 3398458 w 10377"/>
              <a:gd name="T15" fmla="*/ 258103 h 5905"/>
              <a:gd name="T16" fmla="*/ 2597889 w 10377"/>
              <a:gd name="T17" fmla="*/ 44277 h 5905"/>
              <a:gd name="T18" fmla="*/ 1369318 w 10377"/>
              <a:gd name="T19" fmla="*/ 617000 h 5905"/>
              <a:gd name="T20" fmla="*/ 1372558 w 10377"/>
              <a:gd name="T21" fmla="*/ 609800 h 5905"/>
              <a:gd name="T22" fmla="*/ 0 w 10377"/>
              <a:gd name="T23" fmla="*/ 609800 h 5905"/>
              <a:gd name="T24" fmla="*/ 0 w 10377"/>
              <a:gd name="T25" fmla="*/ 2125302 h 5905"/>
              <a:gd name="T26" fmla="*/ 1064785 w 10377"/>
              <a:gd name="T27" fmla="*/ 2125302 h 5905"/>
              <a:gd name="T28" fmla="*/ 1231091 w 10377"/>
              <a:gd name="T29" fmla="*/ 2125302 h 5905"/>
              <a:gd name="T30" fmla="*/ 1203013 w 10377"/>
              <a:gd name="T31" fmla="*/ 1824002 h 59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377" h="5905">
                <a:moveTo>
                  <a:pt x="3342" y="5067"/>
                </a:moveTo>
                <a:cubicBezTo>
                  <a:pt x="3342" y="4860"/>
                  <a:pt x="3356" y="4657"/>
                  <a:pt x="3383" y="4458"/>
                </a:cubicBezTo>
                <a:cubicBezTo>
                  <a:pt x="3680" y="2284"/>
                  <a:pt x="5544" y="608"/>
                  <a:pt x="7800" y="608"/>
                </a:cubicBezTo>
                <a:cubicBezTo>
                  <a:pt x="8342" y="608"/>
                  <a:pt x="8861" y="705"/>
                  <a:pt x="9340" y="882"/>
                </a:cubicBezTo>
                <a:lnTo>
                  <a:pt x="8750" y="1337"/>
                </a:lnTo>
                <a:cubicBezTo>
                  <a:pt x="9227" y="1265"/>
                  <a:pt x="9882" y="1328"/>
                  <a:pt x="10376" y="1434"/>
                </a:cubicBezTo>
                <a:cubicBezTo>
                  <a:pt x="10071" y="1032"/>
                  <a:pt x="9737" y="463"/>
                  <a:pt x="9601" y="0"/>
                </a:cubicBezTo>
                <a:lnTo>
                  <a:pt x="9441" y="717"/>
                </a:lnTo>
                <a:cubicBezTo>
                  <a:pt x="8787" y="339"/>
                  <a:pt x="8027" y="123"/>
                  <a:pt x="7217" y="123"/>
                </a:cubicBezTo>
                <a:cubicBezTo>
                  <a:pt x="5847" y="123"/>
                  <a:pt x="4621" y="741"/>
                  <a:pt x="3804" y="1714"/>
                </a:cubicBezTo>
                <a:cubicBezTo>
                  <a:pt x="3807" y="1707"/>
                  <a:pt x="3810" y="1701"/>
                  <a:pt x="3813" y="1694"/>
                </a:cubicBezTo>
                <a:lnTo>
                  <a:pt x="0" y="1694"/>
                </a:lnTo>
                <a:lnTo>
                  <a:pt x="0" y="5904"/>
                </a:lnTo>
                <a:lnTo>
                  <a:pt x="2958" y="5904"/>
                </a:lnTo>
                <a:lnTo>
                  <a:pt x="3420" y="5904"/>
                </a:lnTo>
                <a:cubicBezTo>
                  <a:pt x="3368" y="5633"/>
                  <a:pt x="3342" y="5353"/>
                  <a:pt x="3342" y="5067"/>
                </a:cubicBezTo>
              </a:path>
            </a:pathLst>
          </a:custGeom>
          <a:solidFill>
            <a:srgbClr val="56BDB2"/>
          </a:solidFill>
          <a:ln>
            <a:noFill/>
          </a:ln>
          <a:effectLst/>
        </p:spPr>
        <p:txBody>
          <a:bodyPr wrap="none" anchor="ctr"/>
          <a:lstStyle/>
          <a:p>
            <a:endParaRPr lang="en-US" sz="900"/>
          </a:p>
        </p:txBody>
      </p:sp>
      <p:sp>
        <p:nvSpPr>
          <p:cNvPr id="5" name="Freeform 2">
            <a:extLst>
              <a:ext uri="{FF2B5EF4-FFF2-40B4-BE49-F238E27FC236}">
                <a16:creationId xmlns:a16="http://schemas.microsoft.com/office/drawing/2014/main" id="{7C8FFEF2-6945-4E22-A25E-183547D3140C}"/>
              </a:ext>
            </a:extLst>
          </p:cNvPr>
          <p:cNvSpPr>
            <a:spLocks noChangeArrowheads="1"/>
          </p:cNvSpPr>
          <p:nvPr/>
        </p:nvSpPr>
        <p:spPr bwMode="auto">
          <a:xfrm>
            <a:off x="4621452" y="3642805"/>
            <a:ext cx="3289771" cy="1794183"/>
          </a:xfrm>
          <a:custGeom>
            <a:avLst/>
            <a:gdLst>
              <a:gd name="T0" fmla="*/ 2532130 w 10378"/>
              <a:gd name="T1" fmla="*/ 301351 h 5904"/>
              <a:gd name="T2" fmla="*/ 2517013 w 10378"/>
              <a:gd name="T3" fmla="*/ 520614 h 5904"/>
              <a:gd name="T4" fmla="*/ 927188 w 10378"/>
              <a:gd name="T5" fmla="*/ 1906759 h 5904"/>
              <a:gd name="T6" fmla="*/ 372891 w 10378"/>
              <a:gd name="T7" fmla="*/ 1808109 h 5904"/>
              <a:gd name="T8" fmla="*/ 585611 w 10378"/>
              <a:gd name="T9" fmla="*/ 1644292 h 5904"/>
              <a:gd name="T10" fmla="*/ 0 w 10378"/>
              <a:gd name="T11" fmla="*/ 1609368 h 5904"/>
              <a:gd name="T12" fmla="*/ 279308 w 10378"/>
              <a:gd name="T13" fmla="*/ 2125302 h 5904"/>
              <a:gd name="T14" fmla="*/ 336897 w 10378"/>
              <a:gd name="T15" fmla="*/ 1867515 h 5904"/>
              <a:gd name="T16" fmla="*/ 1137389 w 10378"/>
              <a:gd name="T17" fmla="*/ 2081377 h 5904"/>
              <a:gd name="T18" fmla="*/ 2366201 w 10378"/>
              <a:gd name="T19" fmla="*/ 1508558 h 5904"/>
              <a:gd name="T20" fmla="*/ 2362962 w 10378"/>
              <a:gd name="T21" fmla="*/ 1515758 h 5904"/>
              <a:gd name="T22" fmla="*/ 3735027 w 10378"/>
              <a:gd name="T23" fmla="*/ 1515758 h 5904"/>
              <a:gd name="T24" fmla="*/ 3735027 w 10378"/>
              <a:gd name="T25" fmla="*/ 0 h 5904"/>
              <a:gd name="T26" fmla="*/ 2670345 w 10378"/>
              <a:gd name="T27" fmla="*/ 0 h 5904"/>
              <a:gd name="T28" fmla="*/ 2504055 w 10378"/>
              <a:gd name="T29" fmla="*/ 0 h 5904"/>
              <a:gd name="T30" fmla="*/ 2532130 w 10378"/>
              <a:gd name="T31" fmla="*/ 301351 h 5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378" h="5904">
                <a:moveTo>
                  <a:pt x="7035" y="837"/>
                </a:moveTo>
                <a:cubicBezTo>
                  <a:pt x="7035" y="1043"/>
                  <a:pt x="7021" y="1247"/>
                  <a:pt x="6993" y="1446"/>
                </a:cubicBezTo>
                <a:cubicBezTo>
                  <a:pt x="6696" y="3620"/>
                  <a:pt x="4832" y="5296"/>
                  <a:pt x="2576" y="5296"/>
                </a:cubicBezTo>
                <a:cubicBezTo>
                  <a:pt x="2035" y="5296"/>
                  <a:pt x="1517" y="5199"/>
                  <a:pt x="1036" y="5022"/>
                </a:cubicBezTo>
                <a:lnTo>
                  <a:pt x="1627" y="4567"/>
                </a:lnTo>
                <a:cubicBezTo>
                  <a:pt x="1150" y="4639"/>
                  <a:pt x="493" y="4576"/>
                  <a:pt x="0" y="4470"/>
                </a:cubicBezTo>
                <a:cubicBezTo>
                  <a:pt x="305" y="4872"/>
                  <a:pt x="639" y="5440"/>
                  <a:pt x="776" y="5903"/>
                </a:cubicBezTo>
                <a:lnTo>
                  <a:pt x="936" y="5187"/>
                </a:lnTo>
                <a:cubicBezTo>
                  <a:pt x="1591" y="5565"/>
                  <a:pt x="2350" y="5781"/>
                  <a:pt x="3160" y="5781"/>
                </a:cubicBezTo>
                <a:cubicBezTo>
                  <a:pt x="4530" y="5781"/>
                  <a:pt x="5755" y="5163"/>
                  <a:pt x="6574" y="4190"/>
                </a:cubicBezTo>
                <a:cubicBezTo>
                  <a:pt x="6571" y="4197"/>
                  <a:pt x="6567" y="4203"/>
                  <a:pt x="6565" y="4210"/>
                </a:cubicBezTo>
                <a:lnTo>
                  <a:pt x="10377" y="4210"/>
                </a:lnTo>
                <a:lnTo>
                  <a:pt x="10377" y="0"/>
                </a:lnTo>
                <a:lnTo>
                  <a:pt x="7419" y="0"/>
                </a:lnTo>
                <a:lnTo>
                  <a:pt x="6957" y="0"/>
                </a:lnTo>
                <a:cubicBezTo>
                  <a:pt x="7008" y="271"/>
                  <a:pt x="7035" y="551"/>
                  <a:pt x="7035" y="837"/>
                </a:cubicBezTo>
              </a:path>
            </a:pathLst>
          </a:custGeom>
          <a:solidFill>
            <a:srgbClr val="FA8C3A"/>
          </a:solidFill>
          <a:ln>
            <a:noFill/>
          </a:ln>
          <a:effectLst/>
        </p:spPr>
        <p:txBody>
          <a:bodyPr wrap="none" anchor="ctr"/>
          <a:lstStyle/>
          <a:p>
            <a:endParaRPr lang="en-US" sz="900" dirty="0"/>
          </a:p>
        </p:txBody>
      </p:sp>
      <p:sp>
        <p:nvSpPr>
          <p:cNvPr id="6" name="Freeform 3">
            <a:extLst>
              <a:ext uri="{FF2B5EF4-FFF2-40B4-BE49-F238E27FC236}">
                <a16:creationId xmlns:a16="http://schemas.microsoft.com/office/drawing/2014/main" id="{236157A3-53E8-4663-9D4C-04AB0403F3A4}"/>
              </a:ext>
            </a:extLst>
          </p:cNvPr>
          <p:cNvSpPr>
            <a:spLocks noChangeArrowheads="1"/>
          </p:cNvSpPr>
          <p:nvPr/>
        </p:nvSpPr>
        <p:spPr bwMode="auto">
          <a:xfrm>
            <a:off x="4858854" y="1680033"/>
            <a:ext cx="1848489" cy="2829472"/>
          </a:xfrm>
          <a:custGeom>
            <a:avLst/>
            <a:gdLst>
              <a:gd name="T0" fmla="*/ 300992 w 5904"/>
              <a:gd name="T1" fmla="*/ 1203013 h 10377"/>
              <a:gd name="T2" fmla="*/ 520615 w 5904"/>
              <a:gd name="T3" fmla="*/ 1218131 h 10377"/>
              <a:gd name="T4" fmla="*/ 1906400 w 5904"/>
              <a:gd name="T5" fmla="*/ 2808110 h 10377"/>
              <a:gd name="T6" fmla="*/ 1808110 w 5904"/>
              <a:gd name="T7" fmla="*/ 3362460 h 10377"/>
              <a:gd name="T8" fmla="*/ 1643932 w 5904"/>
              <a:gd name="T9" fmla="*/ 3150079 h 10377"/>
              <a:gd name="T10" fmla="*/ 1609369 w 5904"/>
              <a:gd name="T11" fmla="*/ 3735027 h 10377"/>
              <a:gd name="T12" fmla="*/ 2125303 w 5904"/>
              <a:gd name="T13" fmla="*/ 3456412 h 10377"/>
              <a:gd name="T14" fmla="*/ 1867516 w 5904"/>
              <a:gd name="T15" fmla="*/ 3398457 h 10377"/>
              <a:gd name="T16" fmla="*/ 2081378 w 5904"/>
              <a:gd name="T17" fmla="*/ 2597888 h 10377"/>
              <a:gd name="T18" fmla="*/ 1508558 w 5904"/>
              <a:gd name="T19" fmla="*/ 1369318 h 10377"/>
              <a:gd name="T20" fmla="*/ 1515759 w 5904"/>
              <a:gd name="T21" fmla="*/ 1372558 h 10377"/>
              <a:gd name="T22" fmla="*/ 1515759 w 5904"/>
              <a:gd name="T23" fmla="*/ 0 h 10377"/>
              <a:gd name="T24" fmla="*/ 0 w 5904"/>
              <a:gd name="T25" fmla="*/ 0 h 10377"/>
              <a:gd name="T26" fmla="*/ 0 w 5904"/>
              <a:gd name="T27" fmla="*/ 1064785 h 10377"/>
              <a:gd name="T28" fmla="*/ 0 w 5904"/>
              <a:gd name="T29" fmla="*/ 1231090 h 10377"/>
              <a:gd name="T30" fmla="*/ 300992 w 5904"/>
              <a:gd name="T31" fmla="*/ 1203013 h 103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904" h="10377">
                <a:moveTo>
                  <a:pt x="836" y="3342"/>
                </a:moveTo>
                <a:cubicBezTo>
                  <a:pt x="1043" y="3342"/>
                  <a:pt x="1246" y="3356"/>
                  <a:pt x="1446" y="3384"/>
                </a:cubicBezTo>
                <a:cubicBezTo>
                  <a:pt x="3620" y="3681"/>
                  <a:pt x="5295" y="5545"/>
                  <a:pt x="5295" y="7801"/>
                </a:cubicBezTo>
                <a:cubicBezTo>
                  <a:pt x="5295" y="8342"/>
                  <a:pt x="5198" y="8861"/>
                  <a:pt x="5022" y="9341"/>
                </a:cubicBezTo>
                <a:lnTo>
                  <a:pt x="4566" y="8751"/>
                </a:lnTo>
                <a:cubicBezTo>
                  <a:pt x="4639" y="9228"/>
                  <a:pt x="4576" y="9883"/>
                  <a:pt x="4470" y="10376"/>
                </a:cubicBezTo>
                <a:cubicBezTo>
                  <a:pt x="4872" y="10071"/>
                  <a:pt x="5440" y="9738"/>
                  <a:pt x="5903" y="9602"/>
                </a:cubicBezTo>
                <a:lnTo>
                  <a:pt x="5187" y="9441"/>
                </a:lnTo>
                <a:cubicBezTo>
                  <a:pt x="5564" y="8787"/>
                  <a:pt x="5781" y="8027"/>
                  <a:pt x="5781" y="7217"/>
                </a:cubicBezTo>
                <a:cubicBezTo>
                  <a:pt x="5781" y="5847"/>
                  <a:pt x="5162" y="4622"/>
                  <a:pt x="4190" y="3804"/>
                </a:cubicBezTo>
                <a:cubicBezTo>
                  <a:pt x="4196" y="3807"/>
                  <a:pt x="4203" y="3810"/>
                  <a:pt x="4210" y="3813"/>
                </a:cubicBezTo>
                <a:lnTo>
                  <a:pt x="4210" y="0"/>
                </a:lnTo>
                <a:lnTo>
                  <a:pt x="0" y="0"/>
                </a:lnTo>
                <a:lnTo>
                  <a:pt x="0" y="2958"/>
                </a:lnTo>
                <a:lnTo>
                  <a:pt x="0" y="3420"/>
                </a:lnTo>
                <a:cubicBezTo>
                  <a:pt x="270" y="3369"/>
                  <a:pt x="550" y="3342"/>
                  <a:pt x="836" y="3342"/>
                </a:cubicBezTo>
              </a:path>
            </a:pathLst>
          </a:custGeom>
          <a:solidFill>
            <a:srgbClr val="313033"/>
          </a:solidFill>
          <a:ln>
            <a:noFill/>
          </a:ln>
          <a:effectLst/>
        </p:spPr>
        <p:txBody>
          <a:bodyPr wrap="none" anchor="ctr"/>
          <a:lstStyle/>
          <a:p>
            <a:endParaRPr lang="en-US" sz="900"/>
          </a:p>
        </p:txBody>
      </p:sp>
      <p:sp>
        <p:nvSpPr>
          <p:cNvPr id="9" name="Freeform 4">
            <a:extLst>
              <a:ext uri="{FF2B5EF4-FFF2-40B4-BE49-F238E27FC236}">
                <a16:creationId xmlns:a16="http://schemas.microsoft.com/office/drawing/2014/main" id="{AB512CFC-A586-4C9A-97E6-53FE2EAFFC77}"/>
              </a:ext>
            </a:extLst>
          </p:cNvPr>
          <p:cNvSpPr>
            <a:spLocks noChangeArrowheads="1"/>
          </p:cNvSpPr>
          <p:nvPr/>
        </p:nvSpPr>
        <p:spPr bwMode="auto">
          <a:xfrm>
            <a:off x="3926465" y="3429367"/>
            <a:ext cx="1794183" cy="3152886"/>
          </a:xfrm>
          <a:custGeom>
            <a:avLst/>
            <a:gdLst>
              <a:gd name="T0" fmla="*/ 1824002 w 5905"/>
              <a:gd name="T1" fmla="*/ 2532491 h 10378"/>
              <a:gd name="T2" fmla="*/ 1604776 w 5905"/>
              <a:gd name="T3" fmla="*/ 2517374 h 10378"/>
              <a:gd name="T4" fmla="*/ 218866 w 5905"/>
              <a:gd name="T5" fmla="*/ 927548 h 10378"/>
              <a:gd name="T6" fmla="*/ 317139 w 5905"/>
              <a:gd name="T7" fmla="*/ 373251 h 10378"/>
              <a:gd name="T8" fmla="*/ 481289 w 5905"/>
              <a:gd name="T9" fmla="*/ 585612 h 10378"/>
              <a:gd name="T10" fmla="*/ 516206 w 5905"/>
              <a:gd name="T11" fmla="*/ 0 h 10378"/>
              <a:gd name="T12" fmla="*/ 0 w 5905"/>
              <a:gd name="T13" fmla="*/ 279308 h 10378"/>
              <a:gd name="T14" fmla="*/ 258103 w 5905"/>
              <a:gd name="T15" fmla="*/ 337258 h 10378"/>
              <a:gd name="T16" fmla="*/ 44277 w 5905"/>
              <a:gd name="T17" fmla="*/ 1137389 h 10378"/>
              <a:gd name="T18" fmla="*/ 616640 w 5905"/>
              <a:gd name="T19" fmla="*/ 2366202 h 10378"/>
              <a:gd name="T20" fmla="*/ 609800 w 5905"/>
              <a:gd name="T21" fmla="*/ 2362962 h 10378"/>
              <a:gd name="T22" fmla="*/ 609800 w 5905"/>
              <a:gd name="T23" fmla="*/ 3735028 h 10378"/>
              <a:gd name="T24" fmla="*/ 2125302 w 5905"/>
              <a:gd name="T25" fmla="*/ 3735028 h 10378"/>
              <a:gd name="T26" fmla="*/ 2125302 w 5905"/>
              <a:gd name="T27" fmla="*/ 2670705 h 10378"/>
              <a:gd name="T28" fmla="*/ 2125302 w 5905"/>
              <a:gd name="T29" fmla="*/ 2504056 h 10378"/>
              <a:gd name="T30" fmla="*/ 1824002 w 5905"/>
              <a:gd name="T31" fmla="*/ 2532491 h 103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905" h="10378">
                <a:moveTo>
                  <a:pt x="5067" y="7036"/>
                </a:moveTo>
                <a:cubicBezTo>
                  <a:pt x="4860" y="7036"/>
                  <a:pt x="4657" y="7022"/>
                  <a:pt x="4458" y="6994"/>
                </a:cubicBezTo>
                <a:cubicBezTo>
                  <a:pt x="2284" y="6697"/>
                  <a:pt x="608" y="4832"/>
                  <a:pt x="608" y="2577"/>
                </a:cubicBezTo>
                <a:cubicBezTo>
                  <a:pt x="608" y="2035"/>
                  <a:pt x="705" y="1517"/>
                  <a:pt x="881" y="1037"/>
                </a:cubicBezTo>
                <a:lnTo>
                  <a:pt x="1337" y="1627"/>
                </a:lnTo>
                <a:cubicBezTo>
                  <a:pt x="1264" y="1150"/>
                  <a:pt x="1327" y="494"/>
                  <a:pt x="1434" y="0"/>
                </a:cubicBezTo>
                <a:cubicBezTo>
                  <a:pt x="1031" y="305"/>
                  <a:pt x="463" y="640"/>
                  <a:pt x="0" y="776"/>
                </a:cubicBezTo>
                <a:lnTo>
                  <a:pt x="717" y="937"/>
                </a:lnTo>
                <a:cubicBezTo>
                  <a:pt x="339" y="1591"/>
                  <a:pt x="123" y="2350"/>
                  <a:pt x="123" y="3160"/>
                </a:cubicBezTo>
                <a:cubicBezTo>
                  <a:pt x="123" y="4531"/>
                  <a:pt x="741" y="5756"/>
                  <a:pt x="1713" y="6574"/>
                </a:cubicBezTo>
                <a:cubicBezTo>
                  <a:pt x="1707" y="6571"/>
                  <a:pt x="1700" y="6568"/>
                  <a:pt x="1694" y="6565"/>
                </a:cubicBezTo>
                <a:lnTo>
                  <a:pt x="1694" y="10377"/>
                </a:lnTo>
                <a:lnTo>
                  <a:pt x="5904" y="10377"/>
                </a:lnTo>
                <a:lnTo>
                  <a:pt x="5904" y="7420"/>
                </a:lnTo>
                <a:lnTo>
                  <a:pt x="5904" y="6957"/>
                </a:lnTo>
                <a:cubicBezTo>
                  <a:pt x="5632" y="7008"/>
                  <a:pt x="5353" y="7036"/>
                  <a:pt x="5067" y="7036"/>
                </a:cubicBezTo>
              </a:path>
            </a:pathLst>
          </a:custGeom>
          <a:solidFill>
            <a:srgbClr val="739AA7"/>
          </a:solidFill>
          <a:ln>
            <a:noFill/>
          </a:ln>
          <a:effectLst/>
        </p:spPr>
        <p:txBody>
          <a:bodyPr wrap="none" anchor="ctr"/>
          <a:lstStyle/>
          <a:p>
            <a:endParaRPr lang="en-US" sz="900"/>
          </a:p>
        </p:txBody>
      </p:sp>
      <p:sp>
        <p:nvSpPr>
          <p:cNvPr id="11" name="TextBox 67">
            <a:extLst>
              <a:ext uri="{FF2B5EF4-FFF2-40B4-BE49-F238E27FC236}">
                <a16:creationId xmlns:a16="http://schemas.microsoft.com/office/drawing/2014/main" id="{5CFDE76A-EEB6-482D-BDCE-AA1B66E0F167}"/>
              </a:ext>
            </a:extLst>
          </p:cNvPr>
          <p:cNvSpPr txBox="1"/>
          <p:nvPr/>
        </p:nvSpPr>
        <p:spPr>
          <a:xfrm>
            <a:off x="6648225" y="4509505"/>
            <a:ext cx="1504324" cy="307777"/>
          </a:xfrm>
          <a:prstGeom prst="rect">
            <a:avLst/>
          </a:prstGeom>
          <a:noFill/>
        </p:spPr>
        <p:txBody>
          <a:bodyPr wrap="square" rtlCol="0" anchor="ctr" anchorCtr="0">
            <a:spAutoFit/>
          </a:bodyPr>
          <a:lstStyle/>
          <a:p>
            <a:pPr algn="ctr"/>
            <a:r>
              <a:rPr lang="es-PE" sz="1400" b="1" dirty="0">
                <a:solidFill>
                  <a:schemeClr val="bg1"/>
                </a:solidFill>
                <a:latin typeface="Poppins SemiBold" pitchFamily="2" charset="77"/>
                <a:ea typeface="League Spartan" charset="0"/>
                <a:cs typeface="Poppins SemiBold" pitchFamily="2" charset="77"/>
              </a:rPr>
              <a:t>Verificar</a:t>
            </a:r>
            <a:endParaRPr lang="en-US" sz="1400" b="1" dirty="0">
              <a:solidFill>
                <a:schemeClr val="bg1"/>
              </a:solidFill>
              <a:latin typeface="Poppins SemiBold" pitchFamily="2" charset="77"/>
              <a:ea typeface="League Spartan" charset="0"/>
              <a:cs typeface="Poppins SemiBold" pitchFamily="2" charset="77"/>
            </a:endParaRPr>
          </a:p>
        </p:txBody>
      </p:sp>
      <p:sp>
        <p:nvSpPr>
          <p:cNvPr id="12" name="TextBox 67">
            <a:extLst>
              <a:ext uri="{FF2B5EF4-FFF2-40B4-BE49-F238E27FC236}">
                <a16:creationId xmlns:a16="http://schemas.microsoft.com/office/drawing/2014/main" id="{43908830-F595-46E9-B409-E2B880A5FB11}"/>
              </a:ext>
            </a:extLst>
          </p:cNvPr>
          <p:cNvSpPr txBox="1"/>
          <p:nvPr/>
        </p:nvSpPr>
        <p:spPr>
          <a:xfrm>
            <a:off x="4675973" y="5592086"/>
            <a:ext cx="801823" cy="307777"/>
          </a:xfrm>
          <a:prstGeom prst="rect">
            <a:avLst/>
          </a:prstGeom>
          <a:noFill/>
        </p:spPr>
        <p:txBody>
          <a:bodyPr wrap="none" rtlCol="0" anchor="ctr" anchorCtr="0">
            <a:spAutoFit/>
          </a:bodyPr>
          <a:lstStyle/>
          <a:p>
            <a:pPr algn="ctr"/>
            <a:r>
              <a:rPr lang="es-PE" sz="1400" b="1" dirty="0">
                <a:solidFill>
                  <a:schemeClr val="bg1"/>
                </a:solidFill>
                <a:latin typeface="Poppins SemiBold" pitchFamily="2" charset="77"/>
                <a:ea typeface="League Spartan" charset="0"/>
                <a:cs typeface="Poppins SemiBold" pitchFamily="2" charset="77"/>
              </a:rPr>
              <a:t>Actuar</a:t>
            </a:r>
            <a:endParaRPr lang="en-US" sz="1400" b="1" dirty="0">
              <a:solidFill>
                <a:schemeClr val="bg1"/>
              </a:solidFill>
              <a:latin typeface="Poppins SemiBold" pitchFamily="2" charset="77"/>
              <a:ea typeface="League Spartan" charset="0"/>
              <a:cs typeface="Poppins SemiBold" pitchFamily="2" charset="77"/>
            </a:endParaRPr>
          </a:p>
        </p:txBody>
      </p:sp>
      <p:sp>
        <p:nvSpPr>
          <p:cNvPr id="15" name="TextBox 67">
            <a:extLst>
              <a:ext uri="{FF2B5EF4-FFF2-40B4-BE49-F238E27FC236}">
                <a16:creationId xmlns:a16="http://schemas.microsoft.com/office/drawing/2014/main" id="{EEB5B83A-213E-45A1-9FB8-C058C00043CF}"/>
              </a:ext>
            </a:extLst>
          </p:cNvPr>
          <p:cNvSpPr txBox="1"/>
          <p:nvPr/>
        </p:nvSpPr>
        <p:spPr>
          <a:xfrm>
            <a:off x="2898371" y="3400742"/>
            <a:ext cx="1047082" cy="307777"/>
          </a:xfrm>
          <a:prstGeom prst="rect">
            <a:avLst/>
          </a:prstGeom>
          <a:noFill/>
        </p:spPr>
        <p:txBody>
          <a:bodyPr wrap="none" rtlCol="0" anchor="ctr" anchorCtr="0">
            <a:spAutoFit/>
          </a:bodyPr>
          <a:lstStyle/>
          <a:p>
            <a:pPr algn="ctr"/>
            <a:r>
              <a:rPr lang="es-PE" sz="1400" b="1" dirty="0">
                <a:solidFill>
                  <a:schemeClr val="bg1"/>
                </a:solidFill>
                <a:latin typeface="Poppins SemiBold" pitchFamily="2" charset="77"/>
                <a:ea typeface="League Spartan" charset="0"/>
                <a:cs typeface="Poppins SemiBold" pitchFamily="2" charset="77"/>
              </a:rPr>
              <a:t>Planificar</a:t>
            </a:r>
            <a:endParaRPr lang="en-US" sz="1400" b="1" dirty="0">
              <a:solidFill>
                <a:schemeClr val="bg1"/>
              </a:solidFill>
              <a:latin typeface="Poppins SemiBold" pitchFamily="2" charset="77"/>
              <a:ea typeface="League Spartan" charset="0"/>
              <a:cs typeface="Poppins SemiBold" pitchFamily="2" charset="77"/>
            </a:endParaRPr>
          </a:p>
        </p:txBody>
      </p:sp>
      <p:sp>
        <p:nvSpPr>
          <p:cNvPr id="10" name="TextBox 67">
            <a:extLst>
              <a:ext uri="{FF2B5EF4-FFF2-40B4-BE49-F238E27FC236}">
                <a16:creationId xmlns:a16="http://schemas.microsoft.com/office/drawing/2014/main" id="{26B86003-A8AA-4CD8-B5F3-29A9AE038886}"/>
              </a:ext>
            </a:extLst>
          </p:cNvPr>
          <p:cNvSpPr txBox="1"/>
          <p:nvPr/>
        </p:nvSpPr>
        <p:spPr>
          <a:xfrm>
            <a:off x="5056180" y="1668740"/>
            <a:ext cx="906967" cy="307777"/>
          </a:xfrm>
          <a:prstGeom prst="rect">
            <a:avLst/>
          </a:prstGeom>
          <a:noFill/>
        </p:spPr>
        <p:txBody>
          <a:bodyPr wrap="square" rtlCol="0" anchor="ctr" anchorCtr="0">
            <a:spAutoFit/>
          </a:bodyPr>
          <a:lstStyle/>
          <a:p>
            <a:pPr algn="ctr"/>
            <a:r>
              <a:rPr lang="es-PE" sz="1400" b="1" dirty="0">
                <a:solidFill>
                  <a:schemeClr val="bg1"/>
                </a:solidFill>
                <a:latin typeface="Poppins SemiBold" pitchFamily="2" charset="77"/>
                <a:ea typeface="League Spartan" charset="0"/>
                <a:cs typeface="Poppins SemiBold" pitchFamily="2" charset="77"/>
              </a:rPr>
              <a:t>Hacer</a:t>
            </a:r>
            <a:endParaRPr lang="en-US" sz="1400" b="1" dirty="0">
              <a:solidFill>
                <a:schemeClr val="bg1"/>
              </a:solidFill>
              <a:latin typeface="Poppins SemiBold" pitchFamily="2" charset="77"/>
              <a:ea typeface="League Spartan" charset="0"/>
              <a:cs typeface="Poppins SemiBold" pitchFamily="2" charset="77"/>
            </a:endParaRPr>
          </a:p>
        </p:txBody>
      </p:sp>
      <p:sp>
        <p:nvSpPr>
          <p:cNvPr id="20" name="Subtitle 2">
            <a:extLst>
              <a:ext uri="{FF2B5EF4-FFF2-40B4-BE49-F238E27FC236}">
                <a16:creationId xmlns:a16="http://schemas.microsoft.com/office/drawing/2014/main" id="{0879DB1A-2BEA-4630-900D-9C5756705A88}"/>
              </a:ext>
            </a:extLst>
          </p:cNvPr>
          <p:cNvSpPr txBox="1">
            <a:spLocks/>
          </p:cNvSpPr>
          <p:nvPr/>
        </p:nvSpPr>
        <p:spPr>
          <a:xfrm>
            <a:off x="6726364" y="1233193"/>
            <a:ext cx="3023340" cy="2431435"/>
          </a:xfrm>
          <a:prstGeom prst="rect">
            <a:avLst/>
          </a:prstGeom>
          <a:solidFill>
            <a:schemeClr val="bg1">
              <a:lumMod val="95000"/>
            </a:schemeClr>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glas para Vivir</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cedimientos</a:t>
            </a:r>
            <a:r>
              <a:rPr lang="es-PE" sz="1250" noProof="1">
                <a:latin typeface="Open Sans Light" panose="020B0306030504020204" pitchFamily="34" charset="0"/>
                <a:ea typeface="Open Sans Light" panose="020B0306030504020204" pitchFamily="34" charset="0"/>
                <a:cs typeface="Open Sans Light" panose="020B0306030504020204" pitchFamily="34" charset="0"/>
              </a:rPr>
              <a:t> y </a:t>
            </a: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stándares</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PERC Base</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gistros Herramientas de Gestión (IPERC cont, PETAR, Permiso de Trabajo, etc)</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spuesta a Emergencias / Simulacros</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xámenes Médicos /Vigilancia/ Monitoreos</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ntrenamiento / Acreditaciones</a:t>
            </a:r>
          </a:p>
          <a:p>
            <a:pPr marL="171450" indent="-171450" algn="l">
              <a:lnSpc>
                <a:spcPct val="100000"/>
              </a:lnSpc>
              <a:buFont typeface="Arial" panose="020B0604020202020204" pitchFamily="34" charset="0"/>
              <a:buChar char="•"/>
            </a:pPr>
            <a:r>
              <a:rPr lang="es-PE" sz="1250"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nual de Contratistas</a:t>
            </a:r>
          </a:p>
        </p:txBody>
      </p:sp>
      <p:sp>
        <p:nvSpPr>
          <p:cNvPr id="21" name="Subtitle 2">
            <a:extLst>
              <a:ext uri="{FF2B5EF4-FFF2-40B4-BE49-F238E27FC236}">
                <a16:creationId xmlns:a16="http://schemas.microsoft.com/office/drawing/2014/main" id="{862E96A6-E9EF-413F-9EC0-11DC21E26ED7}"/>
              </a:ext>
            </a:extLst>
          </p:cNvPr>
          <p:cNvSpPr txBox="1">
            <a:spLocks/>
          </p:cNvSpPr>
          <p:nvPr/>
        </p:nvSpPr>
        <p:spPr>
          <a:xfrm>
            <a:off x="6707343" y="5165045"/>
            <a:ext cx="2389162" cy="1161857"/>
          </a:xfrm>
          <a:prstGeom prst="rect">
            <a:avLst/>
          </a:prstGeom>
          <a:solidFill>
            <a:srgbClr val="FA8C3A">
              <a:alpha val="24000"/>
            </a:srgbClr>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upervisión en campo</a:t>
            </a:r>
          </a:p>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erificaciones a EECC</a:t>
            </a:r>
          </a:p>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specciones</a:t>
            </a:r>
          </a:p>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umplimiento Legal</a:t>
            </a:r>
          </a:p>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uditorías/Fiscalizaciones</a:t>
            </a:r>
          </a:p>
        </p:txBody>
      </p:sp>
      <p:sp>
        <p:nvSpPr>
          <p:cNvPr id="22" name="Subtitle 2">
            <a:extLst>
              <a:ext uri="{FF2B5EF4-FFF2-40B4-BE49-F238E27FC236}">
                <a16:creationId xmlns:a16="http://schemas.microsoft.com/office/drawing/2014/main" id="{DEE467F4-1807-4069-A2BB-2C25780A188D}"/>
              </a:ext>
            </a:extLst>
          </p:cNvPr>
          <p:cNvSpPr txBox="1">
            <a:spLocks/>
          </p:cNvSpPr>
          <p:nvPr/>
        </p:nvSpPr>
        <p:spPr>
          <a:xfrm>
            <a:off x="2063385" y="5396086"/>
            <a:ext cx="2248164" cy="1123384"/>
          </a:xfrm>
          <a:prstGeom prst="rect">
            <a:avLst/>
          </a:prstGeom>
          <a:solidFill>
            <a:srgbClr val="E3EBED"/>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stadística SSO</a:t>
            </a:r>
          </a:p>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nálisis de Incidentes</a:t>
            </a:r>
          </a:p>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sviación de controles críticos </a:t>
            </a:r>
          </a:p>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nálisis PFE externos</a:t>
            </a:r>
            <a:r>
              <a:rPr lang="es-PE" sz="1250" dirty="0">
                <a:latin typeface="Open Sans Light" panose="020B0306030504020204" pitchFamily="34" charset="0"/>
                <a:ea typeface="Open Sans Light" panose="020B0306030504020204" pitchFamily="34" charset="0"/>
                <a:cs typeface="Open Sans Light" panose="020B0306030504020204" pitchFamily="34" charset="0"/>
              </a:rPr>
              <a:t>  </a:t>
            </a:r>
          </a:p>
        </p:txBody>
      </p:sp>
      <p:sp>
        <p:nvSpPr>
          <p:cNvPr id="23" name="Subtitle 2">
            <a:extLst>
              <a:ext uri="{FF2B5EF4-FFF2-40B4-BE49-F238E27FC236}">
                <a16:creationId xmlns:a16="http://schemas.microsoft.com/office/drawing/2014/main" id="{E3EFF972-CE4C-4C6C-BE22-7C94AFACB1F1}"/>
              </a:ext>
            </a:extLst>
          </p:cNvPr>
          <p:cNvSpPr txBox="1">
            <a:spLocks/>
          </p:cNvSpPr>
          <p:nvPr/>
        </p:nvSpPr>
        <p:spPr>
          <a:xfrm>
            <a:off x="1887327" y="2289986"/>
            <a:ext cx="2266627" cy="892552"/>
          </a:xfrm>
          <a:prstGeom prst="rect">
            <a:avLst/>
          </a:prstGeom>
          <a:solidFill>
            <a:srgbClr val="DDF2F0"/>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olítica FCX –H&amp;S</a:t>
            </a:r>
          </a:p>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gulación SSO</a:t>
            </a:r>
          </a:p>
          <a:p>
            <a:pPr marL="171450" indent="-171450" algn="r">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gramas de Gestión SSO - PASSO</a:t>
            </a:r>
          </a:p>
        </p:txBody>
      </p:sp>
      <p:sp>
        <p:nvSpPr>
          <p:cNvPr id="3" name="Elipse 2">
            <a:extLst>
              <a:ext uri="{FF2B5EF4-FFF2-40B4-BE49-F238E27FC236}">
                <a16:creationId xmlns:a16="http://schemas.microsoft.com/office/drawing/2014/main" id="{02464CA6-3394-79DA-7A06-6220925E5F30}"/>
              </a:ext>
            </a:extLst>
          </p:cNvPr>
          <p:cNvSpPr/>
          <p:nvPr/>
        </p:nvSpPr>
        <p:spPr>
          <a:xfrm>
            <a:off x="4346925" y="3331902"/>
            <a:ext cx="2015846" cy="1177603"/>
          </a:xfrm>
          <a:prstGeom prst="ellipse">
            <a:avLst/>
          </a:prstGeom>
          <a:solidFill>
            <a:schemeClr val="tx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tx1"/>
                </a:solidFill>
                <a:latin typeface="Poppins SemiBold" pitchFamily="2" charset="77"/>
                <a:cs typeface="Poppins SemiBold" pitchFamily="2" charset="77"/>
              </a:rPr>
              <a:t>Participación del Liderazgo y de los trabajadores</a:t>
            </a:r>
          </a:p>
        </p:txBody>
      </p:sp>
      <p:sp>
        <p:nvSpPr>
          <p:cNvPr id="18" name="Globo: flecha derecha 17">
            <a:extLst>
              <a:ext uri="{FF2B5EF4-FFF2-40B4-BE49-F238E27FC236}">
                <a16:creationId xmlns:a16="http://schemas.microsoft.com/office/drawing/2014/main" id="{6B18CCCC-67D0-B7EC-63A7-ADC4165C9B52}"/>
              </a:ext>
            </a:extLst>
          </p:cNvPr>
          <p:cNvSpPr/>
          <p:nvPr/>
        </p:nvSpPr>
        <p:spPr>
          <a:xfrm>
            <a:off x="420749" y="3693892"/>
            <a:ext cx="1838122" cy="739165"/>
          </a:xfrm>
          <a:prstGeom prst="rightArrowCallout">
            <a:avLst>
              <a:gd name="adj1" fmla="val 17532"/>
              <a:gd name="adj2" fmla="val 17532"/>
              <a:gd name="adj3" fmla="val 25000"/>
              <a:gd name="adj4" fmla="val 75845"/>
            </a:avLst>
          </a:prstGeom>
          <a:solidFill>
            <a:srgbClr val="00B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tx1"/>
                </a:solidFill>
                <a:latin typeface="Poppins SemiBold" pitchFamily="2" charset="77"/>
                <a:cs typeface="Poppins SemiBold" pitchFamily="2" charset="77"/>
              </a:rPr>
              <a:t>Contexto de la organización</a:t>
            </a:r>
          </a:p>
        </p:txBody>
      </p:sp>
      <p:sp>
        <p:nvSpPr>
          <p:cNvPr id="19" name="Globo: flecha derecha 18">
            <a:extLst>
              <a:ext uri="{FF2B5EF4-FFF2-40B4-BE49-F238E27FC236}">
                <a16:creationId xmlns:a16="http://schemas.microsoft.com/office/drawing/2014/main" id="{05CF2372-CDBD-E19C-3638-0AFAD6F1D547}"/>
              </a:ext>
            </a:extLst>
          </p:cNvPr>
          <p:cNvSpPr/>
          <p:nvPr/>
        </p:nvSpPr>
        <p:spPr>
          <a:xfrm>
            <a:off x="9114705" y="3801818"/>
            <a:ext cx="1794184" cy="755962"/>
          </a:xfrm>
          <a:prstGeom prst="rightArrowCallout">
            <a:avLst>
              <a:gd name="adj1" fmla="val 17532"/>
              <a:gd name="adj2" fmla="val 17532"/>
              <a:gd name="adj3" fmla="val 25000"/>
              <a:gd name="adj4" fmla="val 77170"/>
            </a:avLst>
          </a:prstGeom>
          <a:solidFill>
            <a:srgbClr val="00B050">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tx1"/>
                </a:solidFill>
                <a:latin typeface="Poppins SemiBold" pitchFamily="2" charset="77"/>
                <a:cs typeface="Poppins SemiBold" pitchFamily="2" charset="77"/>
              </a:rPr>
              <a:t>Resultados Previstos</a:t>
            </a:r>
          </a:p>
        </p:txBody>
      </p:sp>
      <p:sp>
        <p:nvSpPr>
          <p:cNvPr id="25" name="Globo: flecha hacia abajo 24">
            <a:extLst>
              <a:ext uri="{FF2B5EF4-FFF2-40B4-BE49-F238E27FC236}">
                <a16:creationId xmlns:a16="http://schemas.microsoft.com/office/drawing/2014/main" id="{0E5DA39F-91E9-3E82-8B30-EC39AA406EA0}"/>
              </a:ext>
            </a:extLst>
          </p:cNvPr>
          <p:cNvSpPr/>
          <p:nvPr/>
        </p:nvSpPr>
        <p:spPr>
          <a:xfrm>
            <a:off x="279061" y="1776234"/>
            <a:ext cx="1176153" cy="1652766"/>
          </a:xfrm>
          <a:prstGeom prst="downArrowCallout">
            <a:avLst/>
          </a:prstGeom>
          <a:solidFill>
            <a:srgbClr val="00B05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uestiones </a:t>
            </a:r>
            <a:r>
              <a:rPr lang="es-PE" sz="125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ternas y externas</a:t>
            </a:r>
          </a:p>
        </p:txBody>
      </p:sp>
      <p:sp>
        <p:nvSpPr>
          <p:cNvPr id="28" name="Globo: flecha hacia arriba 27">
            <a:extLst>
              <a:ext uri="{FF2B5EF4-FFF2-40B4-BE49-F238E27FC236}">
                <a16:creationId xmlns:a16="http://schemas.microsoft.com/office/drawing/2014/main" id="{0EACCF39-A931-034B-7209-61367F033DB8}"/>
              </a:ext>
            </a:extLst>
          </p:cNvPr>
          <p:cNvSpPr/>
          <p:nvPr/>
        </p:nvSpPr>
        <p:spPr>
          <a:xfrm>
            <a:off x="293831" y="4540983"/>
            <a:ext cx="1160161" cy="1652766"/>
          </a:xfrm>
          <a:prstGeom prst="upArrowCallout">
            <a:avLst/>
          </a:prstGeom>
          <a:solidFill>
            <a:srgbClr val="00B05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cesidades y expectativas de las </a:t>
            </a:r>
            <a:r>
              <a:rPr lang="es-PE" sz="125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artes interesadas</a:t>
            </a:r>
          </a:p>
        </p:txBody>
      </p:sp>
      <p:sp>
        <p:nvSpPr>
          <p:cNvPr id="30" name="CuadroTexto 29">
            <a:extLst>
              <a:ext uri="{FF2B5EF4-FFF2-40B4-BE49-F238E27FC236}">
                <a16:creationId xmlns:a16="http://schemas.microsoft.com/office/drawing/2014/main" id="{82D889D5-08CB-117C-D2FE-CCD39AED1B22}"/>
              </a:ext>
            </a:extLst>
          </p:cNvPr>
          <p:cNvSpPr txBox="1"/>
          <p:nvPr/>
        </p:nvSpPr>
        <p:spPr>
          <a:xfrm>
            <a:off x="2349966" y="6582253"/>
            <a:ext cx="7044363" cy="338554"/>
          </a:xfrm>
          <a:prstGeom prst="rect">
            <a:avLst/>
          </a:prstGeom>
          <a:noFill/>
        </p:spPr>
        <p:txBody>
          <a:bodyPr wrap="square" rtlCol="0">
            <a:spAutoFit/>
          </a:bodyPr>
          <a:lstStyle/>
          <a:p>
            <a:pPr algn="ctr"/>
            <a:r>
              <a:rPr lang="es-PE" sz="1600" b="1" dirty="0">
                <a:latin typeface="Poppins SemiBold" pitchFamily="2" charset="77"/>
                <a:cs typeface="Poppins SemiBold" pitchFamily="2" charset="77"/>
              </a:rPr>
              <a:t>Alcance del Sistema de Gestión -  Manual  SGSSO  FCX</a:t>
            </a:r>
          </a:p>
        </p:txBody>
      </p:sp>
      <p:sp>
        <p:nvSpPr>
          <p:cNvPr id="32" name="Subtitle 2">
            <a:extLst>
              <a:ext uri="{FF2B5EF4-FFF2-40B4-BE49-F238E27FC236}">
                <a16:creationId xmlns:a16="http://schemas.microsoft.com/office/drawing/2014/main" id="{932F6A5C-808C-3DC6-A1A0-FE466C9979DF}"/>
              </a:ext>
            </a:extLst>
          </p:cNvPr>
          <p:cNvSpPr txBox="1">
            <a:spLocks/>
          </p:cNvSpPr>
          <p:nvPr/>
        </p:nvSpPr>
        <p:spPr>
          <a:xfrm rot="16200000">
            <a:off x="9278723" y="3716859"/>
            <a:ext cx="4102673" cy="700192"/>
          </a:xfrm>
          <a:prstGeom prst="rect">
            <a:avLst/>
          </a:prstGeom>
          <a:solidFill>
            <a:srgbClr val="00B050">
              <a:alpha val="23000"/>
            </a:srgbClr>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jora Continua del Desempeño de la SSO</a:t>
            </a:r>
          </a:p>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ogro de los objetivos – </a:t>
            </a:r>
          </a:p>
          <a:p>
            <a:pPr marL="171450" indent="-171450" algn="l">
              <a:lnSpc>
                <a:spcPct val="100000"/>
              </a:lnSpc>
              <a:buFont typeface="Arial" panose="020B0604020202020204" pitchFamily="34" charset="0"/>
              <a:buChar char="•"/>
            </a:pP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estión de datos</a:t>
            </a:r>
          </a:p>
        </p:txBody>
      </p:sp>
      <p:sp>
        <p:nvSpPr>
          <p:cNvPr id="36" name="Globo: flecha hacia arriba 35">
            <a:extLst>
              <a:ext uri="{FF2B5EF4-FFF2-40B4-BE49-F238E27FC236}">
                <a16:creationId xmlns:a16="http://schemas.microsoft.com/office/drawing/2014/main" id="{F06E61D1-13B4-FAB8-66CB-7A488070D305}"/>
              </a:ext>
            </a:extLst>
          </p:cNvPr>
          <p:cNvSpPr/>
          <p:nvPr/>
        </p:nvSpPr>
        <p:spPr>
          <a:xfrm>
            <a:off x="5178527" y="4450373"/>
            <a:ext cx="975537" cy="557096"/>
          </a:xfrm>
          <a:prstGeom prst="upArrowCallou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E" sz="125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mité SSO</a:t>
            </a:r>
          </a:p>
        </p:txBody>
      </p:sp>
      <p:pic>
        <p:nvPicPr>
          <p:cNvPr id="13" name="Imagen 12">
            <a:extLst>
              <a:ext uri="{FF2B5EF4-FFF2-40B4-BE49-F238E27FC236}">
                <a16:creationId xmlns:a16="http://schemas.microsoft.com/office/drawing/2014/main" id="{C6089BF6-CE71-948D-8B9D-18F0AFE62C81}"/>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10000" b="90000" l="10000" r="90000">
                        <a14:foregroundMark x1="50167" y1="30667" x2="50167" y2="30667"/>
                        <a14:foregroundMark x1="35833" y1="33833" x2="35833" y2="33833"/>
                        <a14:foregroundMark x1="34000" y1="35333" x2="34000" y2="35333"/>
                        <a14:foregroundMark x1="48167" y1="29667" x2="48167" y2="29667"/>
                        <a14:foregroundMark x1="49167" y1="28333" x2="49167" y2="28333"/>
                        <a14:foregroundMark x1="35833" y1="36333" x2="35833" y2="36333"/>
                        <a14:foregroundMark x1="31333" y1="50333" x2="31333" y2="50333"/>
                        <a14:foregroundMark x1="29500" y1="50500" x2="29500" y2="50500"/>
                        <a14:foregroundMark x1="36833" y1="63167" x2="36833" y2="63167"/>
                        <a14:foregroundMark x1="35333" y1="64500" x2="35333" y2="64500"/>
                        <a14:foregroundMark x1="51000" y1="66833" x2="51000" y2="66833"/>
                        <a14:foregroundMark x1="46833" y1="66500" x2="46833" y2="66500"/>
                        <a14:foregroundMark x1="46000" y1="63167" x2="45833" y2="63167"/>
                        <a14:foregroundMark x1="42667" y1="59833" x2="42667" y2="59833"/>
                        <a14:foregroundMark x1="41500" y1="57333" x2="41500" y2="57333"/>
                        <a14:foregroundMark x1="40000" y1="54333" x2="40000" y2="53667"/>
                        <a14:foregroundMark x1="39667" y1="46667" x2="39667" y2="46667"/>
                        <a14:foregroundMark x1="44500" y1="40333" x2="44500" y2="40333"/>
                        <a14:foregroundMark x1="39667" y1="44333" x2="39667" y2="44333"/>
                        <a14:foregroundMark x1="50000" y1="38333" x2="50000" y2="38333"/>
                        <a14:foregroundMark x1="53833" y1="38833" x2="53833" y2="39000"/>
                        <a14:foregroundMark x1="57333" y1="41667" x2="57333" y2="42500"/>
                        <a14:foregroundMark x1="61500" y1="46833" x2="61500" y2="46833"/>
                        <a14:foregroundMark x1="60000" y1="54833" x2="60000" y2="54833"/>
                        <a14:foregroundMark x1="51000" y1="70500" x2="51000" y2="70500"/>
                        <a14:foregroundMark x1="50500" y1="73667" x2="50500" y2="73667"/>
                        <a14:foregroundMark x1="64667" y1="63500" x2="64667" y2="63500"/>
                        <a14:foregroundMark x1="71667" y1="49833" x2="71500" y2="50500"/>
                        <a14:foregroundMark x1="64333" y1="35333" x2="64333" y2="35333"/>
                        <a14:backgroundMark x1="54500" y1="18333" x2="54500" y2="18333"/>
                        <a14:backgroundMark x1="42667" y1="12000" x2="64333" y2="20667"/>
                        <a14:backgroundMark x1="63333" y1="19667" x2="87333" y2="43833"/>
                        <a14:backgroundMark x1="87333" y1="43833" x2="86833" y2="55500"/>
                        <a14:backgroundMark x1="86833" y1="55500" x2="83167" y2="65333"/>
                        <a14:backgroundMark x1="83167" y1="65333" x2="81000" y2="66500"/>
                        <a14:backgroundMark x1="21833" y1="55000" x2="23667" y2="34333"/>
                        <a14:backgroundMark x1="23667" y1="34333" x2="32000" y2="11667"/>
                        <a14:backgroundMark x1="32000" y1="11667" x2="44500" y2="12833"/>
                        <a14:backgroundMark x1="44500" y1="12833" x2="51167" y2="18500"/>
                        <a14:backgroundMark x1="51167" y1="18500" x2="51333" y2="20333"/>
                        <a14:backgroundMark x1="12167" y1="51333" x2="45667" y2="83000"/>
                        <a14:backgroundMark x1="45667" y1="83000" x2="46333" y2="82833"/>
                        <a14:backgroundMark x1="26333" y1="56667" x2="36667" y2="56667"/>
                        <a14:backgroundMark x1="41500" y1="61667" x2="40500" y2="77833"/>
                        <a14:backgroundMark x1="75667" y1="70333" x2="75667" y2="70333"/>
                        <a14:backgroundMark x1="66000" y1="55833" x2="76000" y2="64500"/>
                        <a14:backgroundMark x1="76000" y1="64500" x2="76667" y2="64667"/>
                        <a14:backgroundMark x1="49000" y1="49000" x2="49667" y2="54000"/>
                      </a14:backgroundRemoval>
                    </a14:imgEffect>
                  </a14:imgLayer>
                </a14:imgProps>
              </a:ext>
            </a:extLst>
          </a:blip>
          <a:srcRect l="15857" t="19264" r="19334" b="23969"/>
          <a:stretch/>
        </p:blipFill>
        <p:spPr>
          <a:xfrm>
            <a:off x="2837617" y="3651143"/>
            <a:ext cx="816386" cy="715094"/>
          </a:xfrm>
          <a:prstGeom prst="rect">
            <a:avLst/>
          </a:prstGeom>
        </p:spPr>
      </p:pic>
      <p:pic>
        <p:nvPicPr>
          <p:cNvPr id="16" name="Imagen 15">
            <a:extLst>
              <a:ext uri="{FF2B5EF4-FFF2-40B4-BE49-F238E27FC236}">
                <a16:creationId xmlns:a16="http://schemas.microsoft.com/office/drawing/2014/main" id="{AE08BFCB-0DEE-6BBF-A11D-AFAE4DB7EC0F}"/>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72767" b="93464" l="80229" r="94444">
                        <a14:foregroundMark x1="80556" y1="89325" x2="80556" y2="89325"/>
                        <a14:foregroundMark x1="81699" y1="87364" x2="81699" y2="87364"/>
                        <a14:foregroundMark x1="89379" y1="72767" x2="89379" y2="72767"/>
                      </a14:backgroundRemoval>
                    </a14:imgEffect>
                  </a14:imgLayer>
                </a14:imgProps>
              </a:ext>
            </a:extLst>
          </a:blip>
          <a:srcRect l="78524" t="71363" r="3648" b="3911"/>
          <a:stretch/>
        </p:blipFill>
        <p:spPr>
          <a:xfrm>
            <a:off x="5261626" y="2005142"/>
            <a:ext cx="554562" cy="576837"/>
          </a:xfrm>
          <a:prstGeom prst="rect">
            <a:avLst/>
          </a:prstGeom>
        </p:spPr>
      </p:pic>
      <p:pic>
        <p:nvPicPr>
          <p:cNvPr id="26" name="Imagen 25">
            <a:extLst>
              <a:ext uri="{FF2B5EF4-FFF2-40B4-BE49-F238E27FC236}">
                <a16:creationId xmlns:a16="http://schemas.microsoft.com/office/drawing/2014/main" id="{DAC5598B-1AAC-4834-8CDE-0B0FF99CC34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foregroundMark x1="69737" y1="69211" x2="69737" y2="69211"/>
                        <a14:foregroundMark x1="35000" y1="25789" x2="35000" y2="25789"/>
                        <a14:foregroundMark x1="50263" y1="29211" x2="50263" y2="29211"/>
                      </a14:backgroundRemoval>
                    </a14:imgEffect>
                  </a14:imgLayer>
                </a14:imgProps>
              </a:ext>
            </a:extLst>
          </a:blip>
          <a:stretch>
            <a:fillRect/>
          </a:stretch>
        </p:blipFill>
        <p:spPr>
          <a:xfrm>
            <a:off x="6892210" y="3759795"/>
            <a:ext cx="907777" cy="907777"/>
          </a:xfrm>
          <a:prstGeom prst="rect">
            <a:avLst/>
          </a:prstGeom>
        </p:spPr>
      </p:pic>
      <p:pic>
        <p:nvPicPr>
          <p:cNvPr id="1026" name="Picture 2" descr="22.800+ Diana Fondo Blanco Ilustraciones de Stock, gráficos vectoriales  libres de derechos y clip art - iStock | Objetivos, Persona pensando, Pensar">
            <a:extLst>
              <a:ext uri="{FF2B5EF4-FFF2-40B4-BE49-F238E27FC236}">
                <a16:creationId xmlns:a16="http://schemas.microsoft.com/office/drawing/2014/main" id="{17015AF8-7137-5CCD-5057-430938347FDF}"/>
              </a:ext>
            </a:extLst>
          </p:cNvPr>
          <p:cNvPicPr>
            <a:picLocks noChangeAspect="1" noChangeArrowheads="1"/>
          </p:cNvPicPr>
          <p:nvPr/>
        </p:nvPicPr>
        <p:blipFill rotWithShape="1">
          <a:blip r:embed="rId9" cstate="email">
            <a:extLst>
              <a:ext uri="{BEBA8EAE-BF5A-486C-A8C5-ECC9F3942E4B}">
                <a14:imgProps xmlns:a14="http://schemas.microsoft.com/office/drawing/2010/main">
                  <a14:imgLayer r:embed="rId10">
                    <a14:imgEffect>
                      <a14:backgroundRemoval t="9804" b="89706" l="57683" r="95272">
                        <a14:foregroundMark x1="72059" y1="21141" x2="72059" y2="21141"/>
                        <a14:foregroundMark x1="89869" y1="14430" x2="89869" y2="14430"/>
                        <a14:foregroundMark x1="71895" y1="34564" x2="71895" y2="34564"/>
                        <a14:foregroundMark x1="72386" y1="53356" x2="72386" y2="53356"/>
                        <a14:foregroundMark x1="57683" y1="53431" x2="57683" y2="53431"/>
                      </a14:backgroundRemoval>
                    </a14:imgEffect>
                  </a14:imgLayer>
                </a14:imgProps>
              </a:ext>
              <a:ext uri="{28A0092B-C50C-407E-A947-70E740481C1C}">
                <a14:useLocalDpi xmlns:a14="http://schemas.microsoft.com/office/drawing/2010/main" val="0"/>
              </a:ext>
            </a:extLst>
          </a:blip>
          <a:srcRect l="53864" t="8128" b="14859"/>
          <a:stretch/>
        </p:blipFill>
        <p:spPr bwMode="auto">
          <a:xfrm>
            <a:off x="4662368" y="5797233"/>
            <a:ext cx="924684" cy="751603"/>
          </a:xfrm>
          <a:prstGeom prst="rect">
            <a:avLst/>
          </a:prstGeom>
          <a:noFill/>
          <a:extLst>
            <a:ext uri="{909E8E84-426E-40DD-AFC4-6F175D3DCCD1}">
              <a14:hiddenFill xmlns:a14="http://schemas.microsoft.com/office/drawing/2010/main">
                <a:solidFill>
                  <a:srgbClr val="FFFFFF"/>
                </a:solidFill>
              </a14:hiddenFill>
            </a:ext>
          </a:extLst>
        </p:spPr>
      </p:pic>
      <p:sp>
        <p:nvSpPr>
          <p:cNvPr id="2" name="Subtitle 2">
            <a:extLst>
              <a:ext uri="{FF2B5EF4-FFF2-40B4-BE49-F238E27FC236}">
                <a16:creationId xmlns:a16="http://schemas.microsoft.com/office/drawing/2014/main" id="{F6D75D98-435E-00E8-90AF-F1DA1844B442}"/>
              </a:ext>
            </a:extLst>
          </p:cNvPr>
          <p:cNvSpPr txBox="1">
            <a:spLocks/>
          </p:cNvSpPr>
          <p:nvPr/>
        </p:nvSpPr>
        <p:spPr>
          <a:xfrm rot="16200000">
            <a:off x="9252229" y="2534945"/>
            <a:ext cx="1644626" cy="292388"/>
          </a:xfrm>
          <a:prstGeom prst="rect">
            <a:avLst/>
          </a:prstGeom>
          <a:solidFill>
            <a:schemeClr val="bg1">
              <a:lumMod val="95000"/>
            </a:schemeClr>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1600" b="1" i="1" noProof="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ole Elevation</a:t>
            </a:r>
          </a:p>
        </p:txBody>
      </p:sp>
      <p:sp>
        <p:nvSpPr>
          <p:cNvPr id="8" name="Subtitle 2">
            <a:extLst>
              <a:ext uri="{FF2B5EF4-FFF2-40B4-BE49-F238E27FC236}">
                <a16:creationId xmlns:a16="http://schemas.microsoft.com/office/drawing/2014/main" id="{163D6AB7-050E-8E4F-B831-28B8C6B9AB2F}"/>
              </a:ext>
            </a:extLst>
          </p:cNvPr>
          <p:cNvSpPr txBox="1">
            <a:spLocks/>
          </p:cNvSpPr>
          <p:nvPr/>
        </p:nvSpPr>
        <p:spPr>
          <a:xfrm>
            <a:off x="8458938" y="5005810"/>
            <a:ext cx="2015570" cy="477054"/>
          </a:xfrm>
          <a:prstGeom prst="rect">
            <a:avLst/>
          </a:prstGeom>
          <a:solidFill>
            <a:schemeClr val="tx1">
              <a:lumMod val="50000"/>
              <a:lumOff val="50000"/>
              <a:alpha val="24000"/>
            </a:schemeClr>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1400" b="1"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upervisión activa y efectiva</a:t>
            </a:r>
          </a:p>
        </p:txBody>
      </p:sp>
      <p:sp>
        <p:nvSpPr>
          <p:cNvPr id="35" name="Título 34">
            <a:extLst>
              <a:ext uri="{FF2B5EF4-FFF2-40B4-BE49-F238E27FC236}">
                <a16:creationId xmlns:a16="http://schemas.microsoft.com/office/drawing/2014/main" id="{3EF5BEFE-EE2D-61A9-A229-BF1E590FB5D3}"/>
              </a:ext>
            </a:extLst>
          </p:cNvPr>
          <p:cNvSpPr>
            <a:spLocks noGrp="1"/>
          </p:cNvSpPr>
          <p:nvPr>
            <p:ph type="title"/>
          </p:nvPr>
        </p:nvSpPr>
        <p:spPr>
          <a:xfrm>
            <a:off x="137583" y="134864"/>
            <a:ext cx="9574441" cy="861004"/>
          </a:xfrm>
        </p:spPr>
        <p:txBody>
          <a:bodyPr/>
          <a:lstStyle/>
          <a:p>
            <a:r>
              <a:rPr lang="es-MX" dirty="0"/>
              <a:t>Sistema de Gestión de Seguridad y Salud Ocupacional SMCV</a:t>
            </a:r>
            <a:endParaRPr lang="es-PE" dirty="0"/>
          </a:p>
        </p:txBody>
      </p:sp>
      <p:sp>
        <p:nvSpPr>
          <p:cNvPr id="7" name="Subtitle 2">
            <a:extLst>
              <a:ext uri="{FF2B5EF4-FFF2-40B4-BE49-F238E27FC236}">
                <a16:creationId xmlns:a16="http://schemas.microsoft.com/office/drawing/2014/main" id="{0CA084EE-98C7-7124-0A98-6D26DB9C0B61}"/>
              </a:ext>
            </a:extLst>
          </p:cNvPr>
          <p:cNvSpPr txBox="1">
            <a:spLocks/>
          </p:cNvSpPr>
          <p:nvPr/>
        </p:nvSpPr>
        <p:spPr>
          <a:xfrm>
            <a:off x="2148949" y="1551373"/>
            <a:ext cx="2015570" cy="477054"/>
          </a:xfrm>
          <a:prstGeom prst="rect">
            <a:avLst/>
          </a:prstGeom>
          <a:solidFill>
            <a:schemeClr val="tx1">
              <a:lumMod val="50000"/>
              <a:lumOff val="50000"/>
              <a:alpha val="24000"/>
            </a:schemeClr>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PE" sz="1400" b="1"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ultura de Alto Rendimiento</a:t>
            </a:r>
          </a:p>
        </p:txBody>
      </p:sp>
    </p:spTree>
    <p:extLst>
      <p:ext uri="{BB962C8B-B14F-4D97-AF65-F5344CB8AC3E}">
        <p14:creationId xmlns:p14="http://schemas.microsoft.com/office/powerpoint/2010/main" val="3775120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5DCEA-11FB-375E-BA08-3B2B59711278}"/>
              </a:ext>
            </a:extLst>
          </p:cNvPr>
          <p:cNvSpPr txBox="1">
            <a:spLocks noChangeArrowheads="1"/>
          </p:cNvSpPr>
          <p:nvPr/>
        </p:nvSpPr>
        <p:spPr>
          <a:xfrm>
            <a:off x="399593" y="2963252"/>
            <a:ext cx="7618992"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s-PE" altLang="en-US" sz="2800" dirty="0">
                <a:solidFill>
                  <a:schemeClr val="bg1"/>
                </a:solidFill>
                <a:latin typeface="Abadi" panose="020B0604020104020204" pitchFamily="34" charset="0"/>
              </a:rPr>
              <a:t>POLÍTICA DE SALUD Y SEGURIDAD</a:t>
            </a:r>
            <a:endParaRPr lang="en-US" altLang="en-US" sz="2800" dirty="0">
              <a:solidFill>
                <a:schemeClr val="bg1"/>
              </a:solidFill>
              <a:latin typeface="Abadi" panose="020B0604020104020204" pitchFamily="34" charset="0"/>
            </a:endParaRPr>
          </a:p>
        </p:txBody>
      </p:sp>
    </p:spTree>
    <p:extLst>
      <p:ext uri="{BB962C8B-B14F-4D97-AF65-F5344CB8AC3E}">
        <p14:creationId xmlns:p14="http://schemas.microsoft.com/office/powerpoint/2010/main" val="15766734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45391-051F-DB31-67C8-5C86C624B466}"/>
              </a:ext>
            </a:extLst>
          </p:cNvPr>
          <p:cNvSpPr>
            <a:spLocks noGrp="1"/>
          </p:cNvSpPr>
          <p:nvPr>
            <p:ph type="title"/>
          </p:nvPr>
        </p:nvSpPr>
        <p:spPr/>
        <p:txBody>
          <a:bodyPr/>
          <a:lstStyle/>
          <a:p>
            <a:r>
              <a:rPr lang="es-PE" dirty="0"/>
              <a:t>Política de Salud y Seguridad</a:t>
            </a:r>
            <a:endParaRPr lang="en-US" dirty="0"/>
          </a:p>
        </p:txBody>
      </p:sp>
      <p:sp>
        <p:nvSpPr>
          <p:cNvPr id="3" name="TextBox 2">
            <a:extLst>
              <a:ext uri="{FF2B5EF4-FFF2-40B4-BE49-F238E27FC236}">
                <a16:creationId xmlns:a16="http://schemas.microsoft.com/office/drawing/2014/main" id="{1F5034E9-23F4-27FF-1450-21804AD33346}"/>
              </a:ext>
            </a:extLst>
          </p:cNvPr>
          <p:cNvSpPr txBox="1"/>
          <p:nvPr/>
        </p:nvSpPr>
        <p:spPr>
          <a:xfrm>
            <a:off x="471094" y="2798772"/>
            <a:ext cx="4513022" cy="248194"/>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100" dirty="0"/>
              <a:t>¿Conoce usted la Política de Salud y Seguridad?</a:t>
            </a:r>
          </a:p>
        </p:txBody>
      </p:sp>
      <p:sp>
        <p:nvSpPr>
          <p:cNvPr id="4" name="TextBox 3">
            <a:extLst>
              <a:ext uri="{FF2B5EF4-FFF2-40B4-BE49-F238E27FC236}">
                <a16:creationId xmlns:a16="http://schemas.microsoft.com/office/drawing/2014/main" id="{1390BCC0-F569-8AF1-0ED3-546926FFD2A5}"/>
              </a:ext>
            </a:extLst>
          </p:cNvPr>
          <p:cNvSpPr txBox="1"/>
          <p:nvPr/>
        </p:nvSpPr>
        <p:spPr>
          <a:xfrm>
            <a:off x="427432" y="3131293"/>
            <a:ext cx="5185969" cy="1797928"/>
          </a:xfrm>
          <a:prstGeom prst="rect">
            <a:avLst/>
          </a:prstGeom>
          <a:noFill/>
        </p:spPr>
        <p:txBody>
          <a:bodyPr wrap="square">
            <a:spAutoFit/>
          </a:bodyPr>
          <a:lstStyle/>
          <a:p>
            <a:pPr marL="86995" algn="just">
              <a:spcBef>
                <a:spcPts val="470"/>
              </a:spcBef>
            </a:pPr>
            <a:r>
              <a:rPr lang="es-ES" sz="1000" dirty="0">
                <a:latin typeface="Poppins" panose="00000500000000000000" pitchFamily="2" charset="0"/>
                <a:ea typeface="Arial" panose="020B0604020202020204" pitchFamily="34" charset="0"/>
                <a:cs typeface="Poppins" panose="00000500000000000000" pitchFamily="2" charset="0"/>
              </a:rPr>
              <a:t>Sí, la Política de Salud y Seguridad es  corporativa y contempla los siguientes compromisos: </a:t>
            </a:r>
          </a:p>
          <a:p>
            <a:pPr marL="258445" indent="-171450" algn="just">
              <a:spcBef>
                <a:spcPts val="470"/>
              </a:spcBef>
              <a:buFont typeface="Arial" panose="020B0604020202020204" pitchFamily="34" charset="0"/>
              <a:buChar char="•"/>
            </a:pPr>
            <a:r>
              <a:rPr lang="es-ES" sz="1000" dirty="0">
                <a:latin typeface="Poppins" panose="00000500000000000000" pitchFamily="2" charset="0"/>
                <a:ea typeface="Arial" panose="020B0604020202020204" pitchFamily="34" charset="0"/>
                <a:cs typeface="Poppins" panose="00000500000000000000" pitchFamily="2" charset="0"/>
              </a:rPr>
              <a:t>Proporcionar un entorno laboral seguro y saludable a fin de prevenir lesiones y enfermedades ocupacionales. </a:t>
            </a:r>
          </a:p>
          <a:p>
            <a:pPr marL="258445" indent="-171450" algn="just">
              <a:spcBef>
                <a:spcPts val="470"/>
              </a:spcBef>
              <a:buFont typeface="Arial" panose="020B0604020202020204" pitchFamily="34" charset="0"/>
              <a:buChar char="•"/>
            </a:pPr>
            <a:r>
              <a:rPr lang="es-ES" sz="1000" dirty="0">
                <a:effectLst/>
                <a:latin typeface="Poppins" panose="00000500000000000000" pitchFamily="2" charset="0"/>
                <a:ea typeface="Arial" panose="020B0604020202020204" pitchFamily="34" charset="0"/>
                <a:cs typeface="Poppins" panose="00000500000000000000" pitchFamily="2" charset="0"/>
              </a:rPr>
              <a:t>Cumplir con requisitos legales y otros requisitos que suscribieran.</a:t>
            </a:r>
          </a:p>
          <a:p>
            <a:pPr marL="258445" indent="-171450" algn="just">
              <a:spcBef>
                <a:spcPts val="470"/>
              </a:spcBef>
              <a:buFont typeface="Arial" panose="020B0604020202020204" pitchFamily="34" charset="0"/>
              <a:buChar char="•"/>
            </a:pPr>
            <a:r>
              <a:rPr lang="es-ES" sz="1000" dirty="0">
                <a:latin typeface="Poppins" panose="00000500000000000000" pitchFamily="2" charset="0"/>
                <a:ea typeface="Arial" panose="020B0604020202020204" pitchFamily="34" charset="0"/>
                <a:cs typeface="Poppins" panose="00000500000000000000" pitchFamily="2" charset="0"/>
              </a:rPr>
              <a:t>Promover la participación y consulta de los trabajadores en materia de SSO. </a:t>
            </a:r>
          </a:p>
          <a:p>
            <a:pPr marL="258445" indent="-171450" algn="just">
              <a:spcBef>
                <a:spcPts val="470"/>
              </a:spcBef>
              <a:buFont typeface="Arial" panose="020B0604020202020204" pitchFamily="34" charset="0"/>
              <a:buChar char="•"/>
            </a:pPr>
            <a:r>
              <a:rPr lang="es-ES" sz="1000" dirty="0">
                <a:effectLst/>
                <a:latin typeface="Poppins" panose="00000500000000000000" pitchFamily="2" charset="0"/>
                <a:ea typeface="Arial" panose="020B0604020202020204" pitchFamily="34" charset="0"/>
                <a:cs typeface="Poppins" panose="00000500000000000000" pitchFamily="2" charset="0"/>
              </a:rPr>
              <a:t>Asegurar la capacitación de empleados y empresas contratistas. </a:t>
            </a:r>
          </a:p>
          <a:p>
            <a:pPr marL="258445" indent="-171450" algn="just">
              <a:spcBef>
                <a:spcPts val="470"/>
              </a:spcBef>
              <a:buFont typeface="Arial" panose="020B0604020202020204" pitchFamily="34" charset="0"/>
              <a:buChar char="•"/>
            </a:pPr>
            <a:r>
              <a:rPr lang="es-ES" sz="1000" dirty="0">
                <a:latin typeface="Poppins" panose="00000500000000000000" pitchFamily="2" charset="0"/>
                <a:ea typeface="Arial" panose="020B0604020202020204" pitchFamily="34" charset="0"/>
                <a:cs typeface="Poppins" panose="00000500000000000000" pitchFamily="2" charset="0"/>
              </a:rPr>
              <a:t>Incentivar la mejora continua, </a:t>
            </a:r>
            <a:r>
              <a:rPr lang="es-ES" sz="1000" dirty="0">
                <a:effectLst/>
                <a:latin typeface="Poppins" panose="00000500000000000000" pitchFamily="2" charset="0"/>
                <a:ea typeface="Arial" panose="020B0604020202020204" pitchFamily="34" charset="0"/>
                <a:cs typeface="Poppins" panose="00000500000000000000" pitchFamily="2" charset="0"/>
              </a:rPr>
              <a:t> </a:t>
            </a:r>
            <a:endParaRPr lang="en-US" sz="1000" dirty="0">
              <a:effectLst/>
              <a:latin typeface="Poppins" panose="00000500000000000000" pitchFamily="2" charset="0"/>
              <a:ea typeface="Arial" panose="020B0604020202020204" pitchFamily="34" charset="0"/>
              <a:cs typeface="Poppins" panose="00000500000000000000" pitchFamily="2" charset="0"/>
            </a:endParaRPr>
          </a:p>
        </p:txBody>
      </p:sp>
      <p:sp>
        <p:nvSpPr>
          <p:cNvPr id="5" name="TextBox 4">
            <a:extLst>
              <a:ext uri="{FF2B5EF4-FFF2-40B4-BE49-F238E27FC236}">
                <a16:creationId xmlns:a16="http://schemas.microsoft.com/office/drawing/2014/main" id="{8D35ACE9-2833-A288-E145-DD3A71C65875}"/>
              </a:ext>
            </a:extLst>
          </p:cNvPr>
          <p:cNvSpPr txBox="1"/>
          <p:nvPr/>
        </p:nvSpPr>
        <p:spPr>
          <a:xfrm>
            <a:off x="427432" y="1487448"/>
            <a:ext cx="4513022" cy="248194"/>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100" dirty="0"/>
              <a:t>¿Qué es la Política de Salud y Seguridad?</a:t>
            </a:r>
          </a:p>
        </p:txBody>
      </p:sp>
      <p:sp>
        <p:nvSpPr>
          <p:cNvPr id="6" name="TextBox 5">
            <a:extLst>
              <a:ext uri="{FF2B5EF4-FFF2-40B4-BE49-F238E27FC236}">
                <a16:creationId xmlns:a16="http://schemas.microsoft.com/office/drawing/2014/main" id="{98041751-4E8C-9977-49E6-7F271C71D0C2}"/>
              </a:ext>
            </a:extLst>
          </p:cNvPr>
          <p:cNvSpPr txBox="1"/>
          <p:nvPr/>
        </p:nvSpPr>
        <p:spPr>
          <a:xfrm>
            <a:off x="305645" y="1995914"/>
            <a:ext cx="5307756" cy="553998"/>
          </a:xfrm>
          <a:prstGeom prst="rect">
            <a:avLst/>
          </a:prstGeom>
          <a:noFill/>
        </p:spPr>
        <p:txBody>
          <a:bodyPr wrap="square">
            <a:spAutoFit/>
          </a:bodyPr>
          <a:lstStyle/>
          <a:p>
            <a:pPr marL="86995" algn="just">
              <a:spcBef>
                <a:spcPts val="470"/>
              </a:spcBef>
            </a:pPr>
            <a:r>
              <a:rPr lang="es-ES" sz="1000" dirty="0">
                <a:latin typeface="Poppins" panose="00000500000000000000" pitchFamily="2" charset="0"/>
                <a:ea typeface="Arial" panose="020B0604020202020204" pitchFamily="34" charset="0"/>
                <a:cs typeface="Poppins" panose="00000500000000000000" pitchFamily="2" charset="0"/>
              </a:rPr>
              <a:t>La Política de Salud y Seguridad es la </a:t>
            </a:r>
            <a:r>
              <a:rPr lang="es-ES" sz="1000" dirty="0">
                <a:latin typeface="Poppins" panose="00000500000000000000" pitchFamily="2" charset="0"/>
                <a:cs typeface="Poppins" panose="00000500000000000000" pitchFamily="2" charset="0"/>
              </a:rPr>
              <a:t>Dirección y compromiso de una organización, relacionadas a su desempeño en Seguridad y Salud Ocupacional, expresada formalmente por la Alta Gerencia de la organización.</a:t>
            </a:r>
            <a:endParaRPr lang="en-US" sz="1000" dirty="0">
              <a:effectLst/>
              <a:latin typeface="Poppins" panose="00000500000000000000" pitchFamily="2" charset="0"/>
              <a:ea typeface="Arial" panose="020B0604020202020204" pitchFamily="34" charset="0"/>
              <a:cs typeface="Poppins" panose="00000500000000000000" pitchFamily="2" charset="0"/>
            </a:endParaRPr>
          </a:p>
        </p:txBody>
      </p:sp>
      <p:sp>
        <p:nvSpPr>
          <p:cNvPr id="9" name="TextBox 8">
            <a:hlinkClick r:id="rId2"/>
            <a:extLst>
              <a:ext uri="{FF2B5EF4-FFF2-40B4-BE49-F238E27FC236}">
                <a16:creationId xmlns:a16="http://schemas.microsoft.com/office/drawing/2014/main" id="{3E1B3410-B8BC-DE3D-31D2-1EC6A0E95870}"/>
              </a:ext>
            </a:extLst>
          </p:cNvPr>
          <p:cNvSpPr txBox="1"/>
          <p:nvPr/>
        </p:nvSpPr>
        <p:spPr>
          <a:xfrm>
            <a:off x="7683806" y="6029008"/>
            <a:ext cx="3579223" cy="335842"/>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100" dirty="0"/>
              <a:t>Encuentra la Política de Salud y Seguridad aquí. </a:t>
            </a:r>
          </a:p>
        </p:txBody>
      </p:sp>
      <p:sp>
        <p:nvSpPr>
          <p:cNvPr id="7" name="TextBox 6">
            <a:extLst>
              <a:ext uri="{FF2B5EF4-FFF2-40B4-BE49-F238E27FC236}">
                <a16:creationId xmlns:a16="http://schemas.microsoft.com/office/drawing/2014/main" id="{CF75AAD5-6B1C-DE84-7AC4-F42009CCE403}"/>
              </a:ext>
            </a:extLst>
          </p:cNvPr>
          <p:cNvSpPr txBox="1"/>
          <p:nvPr/>
        </p:nvSpPr>
        <p:spPr>
          <a:xfrm>
            <a:off x="471094" y="5122358"/>
            <a:ext cx="4513022" cy="248194"/>
          </a:xfrm>
          <a:prstGeom prst="roundRect">
            <a:avLst/>
          </a:prstGeom>
          <a:solidFill>
            <a:srgbClr val="C68B69"/>
          </a:solidFill>
          <a:ln>
            <a:solidFill>
              <a:srgbClr val="C68B6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100" dirty="0"/>
              <a:t>¿Cuál es la última versión de la Política Corporativa SSO?</a:t>
            </a:r>
          </a:p>
        </p:txBody>
      </p:sp>
      <p:sp>
        <p:nvSpPr>
          <p:cNvPr id="10" name="TextBox 9">
            <a:extLst>
              <a:ext uri="{FF2B5EF4-FFF2-40B4-BE49-F238E27FC236}">
                <a16:creationId xmlns:a16="http://schemas.microsoft.com/office/drawing/2014/main" id="{4DDC5E1B-2EB4-A877-1F4B-3CD915A3B4EB}"/>
              </a:ext>
            </a:extLst>
          </p:cNvPr>
          <p:cNvSpPr txBox="1"/>
          <p:nvPr/>
        </p:nvSpPr>
        <p:spPr>
          <a:xfrm>
            <a:off x="427432" y="5533214"/>
            <a:ext cx="5307756" cy="400110"/>
          </a:xfrm>
          <a:prstGeom prst="rect">
            <a:avLst/>
          </a:prstGeom>
          <a:noFill/>
        </p:spPr>
        <p:txBody>
          <a:bodyPr wrap="square">
            <a:spAutoFit/>
          </a:bodyPr>
          <a:lstStyle/>
          <a:p>
            <a:pPr marL="86995" algn="just">
              <a:spcBef>
                <a:spcPts val="470"/>
              </a:spcBef>
            </a:pPr>
            <a:r>
              <a:rPr lang="es-PE" sz="1000" dirty="0">
                <a:effectLst/>
                <a:latin typeface="Poppins" panose="00000500000000000000" pitchFamily="2" charset="0"/>
                <a:ea typeface="Arial" panose="020B0604020202020204" pitchFamily="34" charset="0"/>
                <a:cs typeface="Poppins" panose="00000500000000000000" pitchFamily="2" charset="0"/>
              </a:rPr>
              <a:t>La última versión fue emitida por la corporación en diciembre 2020 y fue adoptada por Cerro Verde en marzo 2021. </a:t>
            </a:r>
            <a:endParaRPr lang="en-US" sz="1000" dirty="0">
              <a:effectLst/>
              <a:latin typeface="Poppins" panose="00000500000000000000" pitchFamily="2" charset="0"/>
              <a:ea typeface="Arial" panose="020B0604020202020204" pitchFamily="34" charset="0"/>
              <a:cs typeface="Poppins" panose="00000500000000000000" pitchFamily="2" charset="0"/>
            </a:endParaRPr>
          </a:p>
        </p:txBody>
      </p:sp>
      <p:pic>
        <p:nvPicPr>
          <p:cNvPr id="12" name="Picture 11">
            <a:extLst>
              <a:ext uri="{FF2B5EF4-FFF2-40B4-BE49-F238E27FC236}">
                <a16:creationId xmlns:a16="http://schemas.microsoft.com/office/drawing/2014/main" id="{91008B53-16FB-5121-BBB9-0B3F3411C675}"/>
              </a:ext>
            </a:extLst>
          </p:cNvPr>
          <p:cNvPicPr>
            <a:picLocks noChangeAspect="1"/>
          </p:cNvPicPr>
          <p:nvPr/>
        </p:nvPicPr>
        <p:blipFill>
          <a:blip r:embed="rId3"/>
          <a:stretch>
            <a:fillRect/>
          </a:stretch>
        </p:blipFill>
        <p:spPr>
          <a:xfrm>
            <a:off x="6934202" y="1272166"/>
            <a:ext cx="2663459" cy="3549600"/>
          </a:xfrm>
          <a:prstGeom prst="rect">
            <a:avLst/>
          </a:prstGeom>
        </p:spPr>
      </p:pic>
      <p:pic>
        <p:nvPicPr>
          <p:cNvPr id="14" name="Picture 13">
            <a:extLst>
              <a:ext uri="{FF2B5EF4-FFF2-40B4-BE49-F238E27FC236}">
                <a16:creationId xmlns:a16="http://schemas.microsoft.com/office/drawing/2014/main" id="{CFEFA131-35DD-89BA-3AA8-D1E071E50D78}"/>
              </a:ext>
            </a:extLst>
          </p:cNvPr>
          <p:cNvPicPr>
            <a:picLocks noChangeAspect="1"/>
          </p:cNvPicPr>
          <p:nvPr/>
        </p:nvPicPr>
        <p:blipFill>
          <a:blip r:embed="rId4"/>
          <a:stretch>
            <a:fillRect/>
          </a:stretch>
        </p:blipFill>
        <p:spPr>
          <a:xfrm>
            <a:off x="8693495" y="2385351"/>
            <a:ext cx="2711105" cy="3547973"/>
          </a:xfrm>
          <a:prstGeom prst="rect">
            <a:avLst/>
          </a:prstGeom>
        </p:spPr>
      </p:pic>
    </p:spTree>
    <p:extLst>
      <p:ext uri="{BB962C8B-B14F-4D97-AF65-F5344CB8AC3E}">
        <p14:creationId xmlns:p14="http://schemas.microsoft.com/office/powerpoint/2010/main" val="1488301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000000"/>
      </a:dk1>
      <a:lt1>
        <a:srgbClr val="FFFFFF"/>
      </a:lt1>
      <a:dk2>
        <a:srgbClr val="8D6E59"/>
      </a:dk2>
      <a:lt2>
        <a:srgbClr val="FDF1DF"/>
      </a:lt2>
      <a:accent1>
        <a:srgbClr val="D34727"/>
      </a:accent1>
      <a:accent2>
        <a:srgbClr val="E18332"/>
      </a:accent2>
      <a:accent3>
        <a:srgbClr val="FFC000"/>
      </a:accent3>
      <a:accent4>
        <a:srgbClr val="8F133C"/>
      </a:accent4>
      <a:accent5>
        <a:srgbClr val="88BA00"/>
      </a:accent5>
      <a:accent6>
        <a:srgbClr val="0088BA"/>
      </a:accent6>
      <a:hlink>
        <a:srgbClr val="27B3D3"/>
      </a:hlink>
      <a:folHlink>
        <a:srgbClr val="8D6E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 Freeport Template Widescreen" id="{9FA926C0-C983-4FCE-99FD-90A8C9C6688B}" vid="{D7F7D09C-D8B7-46D8-9E5A-3577897363F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4</Value>
      <Value>1</Value>
      <Value>7</Value>
    </TaxCatchAll>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FM_x0020_LOC xmlns="b5ba0a33-b247-4d4b-b9ae-c709af684fd3" xsi:nil="true"/>
    <FM_x0020_DPT xmlns="b5ba0a33-b247-4d4b-b9ae-c709af684fd3">Administration</FM_x0020_DPT>
    <Site xmlns="1c8c09b6-704d-411a-b466-b4564be81472">Cerro Verde</Site>
  </documentManagement>
</p:properties>
</file>

<file path=customXml/item2.xml><?xml version="1.0" encoding="utf-8"?>
<?mso-contentType ?>
<SharedContentType xmlns="Microsoft.SharePoint.Taxonomy.ContentTypeSync" SourceId="b7e16863-b940-4291-96f8-ad8461baff96" ContentTypeId="0x01010046829DE55437B147B48D1766376E3D6B"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01c71c80e6a001ff50fc994bda8c680d">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43e7873ea5f4d3fdff3544c45e4f44e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EF08CE-F0D8-4F60-914A-EB8892FBFAD8}">
  <ds:schemaRefs>
    <ds:schemaRef ds:uri="http://purl.org/dc/dcmitype/"/>
    <ds:schemaRef ds:uri="1c8c09b6-704d-411a-b466-b4564be81472"/>
    <ds:schemaRef ds:uri="http://www.w3.org/XML/1998/namespace"/>
    <ds:schemaRef ds:uri="http://schemas.openxmlformats.org/package/2006/metadata/core-properties"/>
    <ds:schemaRef ds:uri="http://purl.org/dc/elements/1.1/"/>
    <ds:schemaRef ds:uri="http://purl.org/dc/terms/"/>
    <ds:schemaRef ds:uri="http://schemas.microsoft.com/office/2006/documentManagement/types"/>
    <ds:schemaRef ds:uri="http://schemas.microsoft.com/office/infopath/2007/PartnerControls"/>
    <ds:schemaRef ds:uri="b5ba0a33-b247-4d4b-b9ae-c709af684fd3"/>
    <ds:schemaRef ds:uri="http://schemas.microsoft.com/office/2006/metadata/properties"/>
  </ds:schemaRefs>
</ds:datastoreItem>
</file>

<file path=customXml/itemProps2.xml><?xml version="1.0" encoding="utf-8"?>
<ds:datastoreItem xmlns:ds="http://schemas.openxmlformats.org/officeDocument/2006/customXml" ds:itemID="{5A6C0FA3-8ED0-4147-86DC-5E490260DA09}">
  <ds:schemaRefs>
    <ds:schemaRef ds:uri="Microsoft.SharePoint.Taxonomy.ContentTypeSync"/>
  </ds:schemaRefs>
</ds:datastoreItem>
</file>

<file path=customXml/itemProps3.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4.xml><?xml version="1.0" encoding="utf-8"?>
<ds:datastoreItem xmlns:ds="http://schemas.openxmlformats.org/officeDocument/2006/customXml" ds:itemID="{85302BCF-2963-4EE5-80D9-B00760561D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4107</TotalTime>
  <Words>2124</Words>
  <Application>Microsoft Office PowerPoint</Application>
  <PresentationFormat>Panorámica</PresentationFormat>
  <Paragraphs>244</Paragraphs>
  <Slides>29</Slides>
  <Notes>5</Notes>
  <HiddenSlides>0</HiddenSlides>
  <MMClips>0</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1</vt:i4>
      </vt:variant>
      <vt:variant>
        <vt:lpstr>Títulos de diapositiva</vt:lpstr>
      </vt:variant>
      <vt:variant>
        <vt:i4>29</vt:i4>
      </vt:variant>
    </vt:vector>
  </HeadingPairs>
  <TitlesOfParts>
    <vt:vector size="43" baseType="lpstr">
      <vt:lpstr>Abadi</vt:lpstr>
      <vt:lpstr>Arial</vt:lpstr>
      <vt:lpstr>Calibri</vt:lpstr>
      <vt:lpstr>Courier New</vt:lpstr>
      <vt:lpstr>Open Sans</vt:lpstr>
      <vt:lpstr>Open Sans Light</vt:lpstr>
      <vt:lpstr>Open Sans Semibold</vt:lpstr>
      <vt:lpstr>Poppins</vt:lpstr>
      <vt:lpstr>Poppins Light</vt:lpstr>
      <vt:lpstr>Poppins Medium</vt:lpstr>
      <vt:lpstr>Poppins SemiBold</vt:lpstr>
      <vt:lpstr>Wingdings</vt:lpstr>
      <vt:lpstr>1_Office Theme</vt:lpstr>
      <vt:lpstr>think-cell Slide</vt:lpstr>
      <vt:lpstr>Presentación de PowerPoint</vt:lpstr>
      <vt:lpstr>Índice</vt:lpstr>
      <vt:lpstr>DATOS GENERALES:</vt:lpstr>
      <vt:lpstr>Presentación de PowerPoint</vt:lpstr>
      <vt:lpstr>Programa de Auditoría</vt:lpstr>
      <vt:lpstr>Presentación de PowerPoint</vt:lpstr>
      <vt:lpstr>Sistema de Gestión de Seguridad y Salud Ocupacional SMCV</vt:lpstr>
      <vt:lpstr>Presentación de PowerPoint</vt:lpstr>
      <vt:lpstr>Política de Salud y Seguridad</vt:lpstr>
      <vt:lpstr>Presentación de PowerPoint</vt:lpstr>
      <vt:lpstr>Programa Anual de Salud y Seguridad Ocupacional – PASSO </vt:lpstr>
      <vt:lpstr>Presentación de PowerPoint</vt:lpstr>
      <vt:lpstr>Tu participación en el SGSSO</vt:lpstr>
      <vt:lpstr>Presentación de PowerPoint</vt:lpstr>
      <vt:lpstr>Matriz de Gestión de Riesgos de Seguridad</vt:lpstr>
      <vt:lpstr>Matriz de Gestión de Riesgos de Salud Ocupacional</vt:lpstr>
      <vt:lpstr>Jerarquía de Controles</vt:lpstr>
      <vt:lpstr>Presentación de PowerPoint</vt:lpstr>
      <vt:lpstr>MAPA DE RIESGOS</vt:lpstr>
      <vt:lpstr>Presentación de PowerPoint</vt:lpstr>
      <vt:lpstr>Procedimientos escritos de Trabajo Seguro (PETS)</vt:lpstr>
      <vt:lpstr>Presentación de PowerPoint</vt:lpstr>
      <vt:lpstr>REPORTE OPORTUNO DE INCIDENTES</vt:lpstr>
      <vt:lpstr>Gestion de Incidentes de SSO</vt:lpstr>
      <vt:lpstr>Presentación de PowerPoint</vt:lpstr>
      <vt:lpstr>¿Cómo reportar una Emergencia?</vt:lpstr>
      <vt:lpstr>Presentación de PowerPoint</vt:lpstr>
      <vt:lpstr>Charlas de Reforzamiento</vt:lpstr>
      <vt:lpstr>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CACERES SANDOVAL, EVA MARIA</cp:lastModifiedBy>
  <cp:revision>14</cp:revision>
  <dcterms:created xsi:type="dcterms:W3CDTF">2024-04-12T13:29:24Z</dcterms:created>
  <dcterms:modified xsi:type="dcterms:W3CDTF">2025-03-06T19:0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46829DE55437B147B48D1766376E3D6B00B88FBAAEE5C20C4C9D69FB6CE39CD566</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ies>
</file>